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6"/>
  </p:notesMasterIdLst>
  <p:handoutMasterIdLst>
    <p:handoutMasterId r:id="rId7"/>
  </p:handoutMasterIdLst>
  <p:sldIdLst>
    <p:sldId id="1106" r:id="rId2"/>
    <p:sldId id="1107" r:id="rId3"/>
    <p:sldId id="630" r:id="rId4"/>
    <p:sldId id="601" r:id="rId5"/>
  </p:sldIdLst>
  <p:sldSz cx="12192000" cy="6858000"/>
  <p:notesSz cx="6797675" cy="9926638"/>
  <p:custDataLst>
    <p:tags r:id="rId8"/>
  </p:custDataLst>
  <p:defaultTextStyle>
    <a:defPPr>
      <a:defRPr lang="es-ES"/>
    </a:defPPr>
    <a:lvl1pPr marL="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895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79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684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58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477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372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266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16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llaplana Fernández, Virginia" initials="VFV" lastIdx="16" clrIdx="0">
    <p:extLst>
      <p:ext uri="{19B8F6BF-5375-455C-9EA6-DF929625EA0E}">
        <p15:presenceInfo xmlns:p15="http://schemas.microsoft.com/office/powerpoint/2012/main" userId="S-1-5-21-1506503333-1133455874-5522801-7564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6D76"/>
    <a:srgbClr val="D5E5EE"/>
    <a:srgbClr val="D5E5EF"/>
    <a:srgbClr val="DEEBF4"/>
    <a:srgbClr val="EEF5F9"/>
    <a:srgbClr val="E9F2F7"/>
    <a:srgbClr val="D4E5F0"/>
    <a:srgbClr val="E7E6E6"/>
    <a:srgbClr val="FCE3D4"/>
    <a:srgbClr val="E389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066" autoAdjust="0"/>
    <p:restoredTop sz="94105" autoAdjust="0"/>
  </p:normalViewPr>
  <p:slideViewPr>
    <p:cSldViewPr snapToObjects="1" showGuides="1">
      <p:cViewPr>
        <p:scale>
          <a:sx n="144" d="100"/>
          <a:sy n="144" d="100"/>
        </p:scale>
        <p:origin x="2472" y="1280"/>
      </p:cViewPr>
      <p:guideLst>
        <p:guide orient="horz" pos="3022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29/1/20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29/1/20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87" rtl="0" eaLnBrk="1" latinLnBrk="0" hangingPunct="1">
      <a:defRPr sz="1599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919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387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58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77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96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516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4355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354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12192000" cy="687741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2" y="383588"/>
            <a:ext cx="3725333" cy="2147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2" y="689241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3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9954" y="2873081"/>
            <a:ext cx="6626810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997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1" y="3311240"/>
            <a:ext cx="4842163" cy="2480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2" y="3743044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3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382577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675" y="1421649"/>
            <a:ext cx="7563994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85668" y="6337302"/>
            <a:ext cx="1444604" cy="17628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4" y="6118996"/>
            <a:ext cx="1795156" cy="356183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6846376" y="1346032"/>
            <a:ext cx="209325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8154785" y="1346032"/>
            <a:ext cx="209325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9463196" y="1346032"/>
            <a:ext cx="209325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1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9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6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798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2875111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3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los estilos de texto del patrón
Segundo nivel
Tercer nivel
Cuarto nivel
Quinto nivel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7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7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1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100" smtClean="0">
                <a:solidFill>
                  <a:schemeClr val="bg1"/>
                </a:solidFill>
              </a:rPr>
              <a:pPr algn="r"/>
              <a:t>‹Nº›</a:t>
            </a:fld>
            <a:endParaRPr lang="es-E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8116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156F5E28-B21A-FF48-ACBE-0BE66B94DE4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" y="1780119"/>
            <a:ext cx="12191999" cy="4241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Imagen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EDF07A6-6F4B-244E-9DCC-660BBA9CF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291"/>
            <a:ext cx="11430000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733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999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>
            <a:prstTxWarp prst="textNoShape">
              <a:avLst/>
            </a:prstTxWarp>
          </a:bodyPr>
          <a:lstStyle/>
          <a:p>
            <a:endParaRPr lang="es-ES" sz="2397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98" r:id="rId4"/>
    <p:sldLayoutId id="2147483771" r:id="rId5"/>
    <p:sldLayoutId id="2147483748" r:id="rId6"/>
    <p:sldLayoutId id="2147483749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46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678" r:id="rId31"/>
    <p:sldLayoutId id="2147483790" r:id="rId32"/>
    <p:sldLayoutId id="2147483669" r:id="rId33"/>
    <p:sldLayoutId id="2147483789" r:id="rId34"/>
    <p:sldLayoutId id="2147483685" r:id="rId35"/>
    <p:sldLayoutId id="2147483792" r:id="rId36"/>
    <p:sldLayoutId id="2147483693" r:id="rId37"/>
    <p:sldLayoutId id="2147483793" r:id="rId38"/>
    <p:sldLayoutId id="2147483701" r:id="rId39"/>
    <p:sldLayoutId id="2147483794" r:id="rId40"/>
    <p:sldLayoutId id="2147483785" r:id="rId41"/>
    <p:sldLayoutId id="2147483795" r:id="rId42"/>
    <p:sldLayoutId id="2147483802" r:id="rId43"/>
    <p:sldLayoutId id="2147483803" r:id="rId44"/>
  </p:sldLayoutIdLst>
  <p:hf hdr="0" ftr="0" dt="0"/>
  <p:txStyles>
    <p:titleStyle>
      <a:lvl1pPr algn="l" defTabSz="913897" rtl="0" eaLnBrk="1" latinLnBrk="0" hangingPunct="1">
        <a:lnSpc>
          <a:spcPct val="90000"/>
        </a:lnSpc>
        <a:spcBef>
          <a:spcPct val="0"/>
        </a:spcBef>
        <a:buNone/>
        <a:defRPr sz="4664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474" indent="-228474" algn="l" defTabSz="913897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42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371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320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268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217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66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114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6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9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97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4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8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orient="horz" pos="4035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10" pos="7469" userDrawn="1">
          <p15:clr>
            <a:srgbClr val="F26B43"/>
          </p15:clr>
        </p15:guide>
        <p15:guide id="15" pos="212" userDrawn="1">
          <p15:clr>
            <a:srgbClr val="F26B43"/>
          </p15:clr>
        </p15:guide>
        <p15:guide id="17" orient="horz" pos="769" userDrawn="1">
          <p15:clr>
            <a:srgbClr val="F26B43"/>
          </p15:clr>
        </p15:guide>
        <p15:guide id="18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orma libre 42">
            <a:extLst>
              <a:ext uri="{FF2B5EF4-FFF2-40B4-BE49-F238E27FC236}">
                <a16:creationId xmlns:a16="http://schemas.microsoft.com/office/drawing/2014/main" id="{6707A2F4-30E4-7142-BCB4-34596251765C}"/>
              </a:ext>
            </a:extLst>
          </p:cNvPr>
          <p:cNvSpPr/>
          <p:nvPr/>
        </p:nvSpPr>
        <p:spPr>
          <a:xfrm flipH="1">
            <a:off x="6584551" y="548680"/>
            <a:ext cx="6585443" cy="7888774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  <a:gd name="connsiteX0" fmla="*/ 0 w 11069052"/>
              <a:gd name="connsiteY0" fmla="*/ 3176337 h 7483642"/>
              <a:gd name="connsiteX1" fmla="*/ 6117532 w 11069052"/>
              <a:gd name="connsiteY1" fmla="*/ 1419949 h 7483642"/>
              <a:gd name="connsiteX2" fmla="*/ 11069052 w 11069052"/>
              <a:gd name="connsiteY2" fmla="*/ 0 h 7483642"/>
              <a:gd name="connsiteX3" fmla="*/ 11069052 w 11069052"/>
              <a:gd name="connsiteY3" fmla="*/ 7483642 h 7483642"/>
              <a:gd name="connsiteX4" fmla="*/ 10804358 w 11069052"/>
              <a:gd name="connsiteY4" fmla="*/ 7483642 h 7483642"/>
              <a:gd name="connsiteX5" fmla="*/ 0 w 11069052"/>
              <a:gd name="connsiteY5" fmla="*/ 7483642 h 7483642"/>
              <a:gd name="connsiteX6" fmla="*/ 0 w 11069052"/>
              <a:gd name="connsiteY6" fmla="*/ 3176337 h 7483642"/>
              <a:gd name="connsiteX0" fmla="*/ 0 w 11095445"/>
              <a:gd name="connsiteY0" fmla="*/ 3176337 h 7483642"/>
              <a:gd name="connsiteX1" fmla="*/ 6117532 w 11095445"/>
              <a:gd name="connsiteY1" fmla="*/ 1419949 h 7483642"/>
              <a:gd name="connsiteX2" fmla="*/ 11069052 w 11095445"/>
              <a:gd name="connsiteY2" fmla="*/ 0 h 7483642"/>
              <a:gd name="connsiteX3" fmla="*/ 11095445 w 11095445"/>
              <a:gd name="connsiteY3" fmla="*/ 6034779 h 7483642"/>
              <a:gd name="connsiteX4" fmla="*/ 11069052 w 11095445"/>
              <a:gd name="connsiteY4" fmla="*/ 7483642 h 7483642"/>
              <a:gd name="connsiteX5" fmla="*/ 10804358 w 11095445"/>
              <a:gd name="connsiteY5" fmla="*/ 7483642 h 7483642"/>
              <a:gd name="connsiteX6" fmla="*/ 0 w 11095445"/>
              <a:gd name="connsiteY6" fmla="*/ 7483642 h 7483642"/>
              <a:gd name="connsiteX7" fmla="*/ 0 w 11095445"/>
              <a:gd name="connsiteY7" fmla="*/ 3176337 h 7483642"/>
              <a:gd name="connsiteX0" fmla="*/ 0 w 11095445"/>
              <a:gd name="connsiteY0" fmla="*/ 3176337 h 7483642"/>
              <a:gd name="connsiteX1" fmla="*/ 6117532 w 11095445"/>
              <a:gd name="connsiteY1" fmla="*/ 1419949 h 7483642"/>
              <a:gd name="connsiteX2" fmla="*/ 11069052 w 11095445"/>
              <a:gd name="connsiteY2" fmla="*/ 0 h 7483642"/>
              <a:gd name="connsiteX3" fmla="*/ 11095445 w 11095445"/>
              <a:gd name="connsiteY3" fmla="*/ 6034779 h 7483642"/>
              <a:gd name="connsiteX4" fmla="*/ 11069052 w 11095445"/>
              <a:gd name="connsiteY4" fmla="*/ 7483642 h 7483642"/>
              <a:gd name="connsiteX5" fmla="*/ 10804358 w 11095445"/>
              <a:gd name="connsiteY5" fmla="*/ 7483642 h 7483642"/>
              <a:gd name="connsiteX6" fmla="*/ 5941545 w 11095445"/>
              <a:gd name="connsiteY6" fmla="*/ 7477692 h 7483642"/>
              <a:gd name="connsiteX7" fmla="*/ 0 w 11095445"/>
              <a:gd name="connsiteY7" fmla="*/ 7483642 h 7483642"/>
              <a:gd name="connsiteX8" fmla="*/ 0 w 11095445"/>
              <a:gd name="connsiteY8" fmla="*/ 3176337 h 7483642"/>
              <a:gd name="connsiteX0" fmla="*/ 0 w 11095445"/>
              <a:gd name="connsiteY0" fmla="*/ 3176337 h 7483642"/>
              <a:gd name="connsiteX1" fmla="*/ 6117532 w 11095445"/>
              <a:gd name="connsiteY1" fmla="*/ 1419949 h 7483642"/>
              <a:gd name="connsiteX2" fmla="*/ 11069052 w 11095445"/>
              <a:gd name="connsiteY2" fmla="*/ 0 h 7483642"/>
              <a:gd name="connsiteX3" fmla="*/ 11095445 w 11095445"/>
              <a:gd name="connsiteY3" fmla="*/ 6034779 h 7483642"/>
              <a:gd name="connsiteX4" fmla="*/ 11069052 w 11095445"/>
              <a:gd name="connsiteY4" fmla="*/ 7483642 h 7483642"/>
              <a:gd name="connsiteX5" fmla="*/ 10804358 w 11095445"/>
              <a:gd name="connsiteY5" fmla="*/ 7483642 h 7483642"/>
              <a:gd name="connsiteX6" fmla="*/ 5941545 w 11095445"/>
              <a:gd name="connsiteY6" fmla="*/ 7477692 h 7483642"/>
              <a:gd name="connsiteX7" fmla="*/ 0 w 11095445"/>
              <a:gd name="connsiteY7" fmla="*/ 3176337 h 7483642"/>
              <a:gd name="connsiteX0" fmla="*/ 0 w 5153900"/>
              <a:gd name="connsiteY0" fmla="*/ 7477692 h 7483642"/>
              <a:gd name="connsiteX1" fmla="*/ 175987 w 5153900"/>
              <a:gd name="connsiteY1" fmla="*/ 1419949 h 7483642"/>
              <a:gd name="connsiteX2" fmla="*/ 5127507 w 5153900"/>
              <a:gd name="connsiteY2" fmla="*/ 0 h 7483642"/>
              <a:gd name="connsiteX3" fmla="*/ 5153900 w 5153900"/>
              <a:gd name="connsiteY3" fmla="*/ 6034779 h 7483642"/>
              <a:gd name="connsiteX4" fmla="*/ 5127507 w 5153900"/>
              <a:gd name="connsiteY4" fmla="*/ 7483642 h 7483642"/>
              <a:gd name="connsiteX5" fmla="*/ 4862813 w 5153900"/>
              <a:gd name="connsiteY5" fmla="*/ 7483642 h 7483642"/>
              <a:gd name="connsiteX6" fmla="*/ 0 w 5153900"/>
              <a:gd name="connsiteY6" fmla="*/ 7477692 h 7483642"/>
              <a:gd name="connsiteX0" fmla="*/ 0 w 5153900"/>
              <a:gd name="connsiteY0" fmla="*/ 7477692 h 7483642"/>
              <a:gd name="connsiteX1" fmla="*/ 62851 w 5153900"/>
              <a:gd name="connsiteY1" fmla="*/ 5972585 h 7483642"/>
              <a:gd name="connsiteX2" fmla="*/ 175987 w 5153900"/>
              <a:gd name="connsiteY2" fmla="*/ 1419949 h 7483642"/>
              <a:gd name="connsiteX3" fmla="*/ 5127507 w 5153900"/>
              <a:gd name="connsiteY3" fmla="*/ 0 h 7483642"/>
              <a:gd name="connsiteX4" fmla="*/ 5153900 w 5153900"/>
              <a:gd name="connsiteY4" fmla="*/ 6034779 h 7483642"/>
              <a:gd name="connsiteX5" fmla="*/ 5127507 w 5153900"/>
              <a:gd name="connsiteY5" fmla="*/ 7483642 h 7483642"/>
              <a:gd name="connsiteX6" fmla="*/ 4862813 w 5153900"/>
              <a:gd name="connsiteY6" fmla="*/ 7483642 h 7483642"/>
              <a:gd name="connsiteX7" fmla="*/ 0 w 5153900"/>
              <a:gd name="connsiteY7" fmla="*/ 7477692 h 7483642"/>
              <a:gd name="connsiteX0" fmla="*/ 4799962 w 5091049"/>
              <a:gd name="connsiteY0" fmla="*/ 7483642 h 7483642"/>
              <a:gd name="connsiteX1" fmla="*/ 0 w 5091049"/>
              <a:gd name="connsiteY1" fmla="*/ 5972585 h 7483642"/>
              <a:gd name="connsiteX2" fmla="*/ 113136 w 5091049"/>
              <a:gd name="connsiteY2" fmla="*/ 1419949 h 7483642"/>
              <a:gd name="connsiteX3" fmla="*/ 5064656 w 5091049"/>
              <a:gd name="connsiteY3" fmla="*/ 0 h 7483642"/>
              <a:gd name="connsiteX4" fmla="*/ 5091049 w 5091049"/>
              <a:gd name="connsiteY4" fmla="*/ 6034779 h 7483642"/>
              <a:gd name="connsiteX5" fmla="*/ 5064656 w 5091049"/>
              <a:gd name="connsiteY5" fmla="*/ 7483642 h 7483642"/>
              <a:gd name="connsiteX6" fmla="*/ 4799962 w 5091049"/>
              <a:gd name="connsiteY6" fmla="*/ 7483642 h 7483642"/>
              <a:gd name="connsiteX0" fmla="*/ 4799962 w 5091049"/>
              <a:gd name="connsiteY0" fmla="*/ 7483642 h 7483642"/>
              <a:gd name="connsiteX1" fmla="*/ 0 w 5091049"/>
              <a:gd name="connsiteY1" fmla="*/ 5972585 h 7483642"/>
              <a:gd name="connsiteX2" fmla="*/ 113136 w 5091049"/>
              <a:gd name="connsiteY2" fmla="*/ 1419949 h 7483642"/>
              <a:gd name="connsiteX3" fmla="*/ 5064656 w 5091049"/>
              <a:gd name="connsiteY3" fmla="*/ 0 h 7483642"/>
              <a:gd name="connsiteX4" fmla="*/ 5091049 w 5091049"/>
              <a:gd name="connsiteY4" fmla="*/ 6034779 h 7483642"/>
              <a:gd name="connsiteX5" fmla="*/ 4799962 w 5091049"/>
              <a:gd name="connsiteY5" fmla="*/ 7483642 h 7483642"/>
              <a:gd name="connsiteX0" fmla="*/ 5091049 w 5091049"/>
              <a:gd name="connsiteY0" fmla="*/ 6034779 h 6034779"/>
              <a:gd name="connsiteX1" fmla="*/ 0 w 5091049"/>
              <a:gd name="connsiteY1" fmla="*/ 5972585 h 6034779"/>
              <a:gd name="connsiteX2" fmla="*/ 113136 w 5091049"/>
              <a:gd name="connsiteY2" fmla="*/ 1419949 h 6034779"/>
              <a:gd name="connsiteX3" fmla="*/ 5064656 w 5091049"/>
              <a:gd name="connsiteY3" fmla="*/ 0 h 6034779"/>
              <a:gd name="connsiteX4" fmla="*/ 5091049 w 5091049"/>
              <a:gd name="connsiteY4" fmla="*/ 6034779 h 603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049" h="6034779">
                <a:moveTo>
                  <a:pt x="5091049" y="6034779"/>
                </a:moveTo>
                <a:lnTo>
                  <a:pt x="0" y="5972585"/>
                </a:lnTo>
                <a:lnTo>
                  <a:pt x="113136" y="1419949"/>
                </a:lnTo>
                <a:lnTo>
                  <a:pt x="5064656" y="0"/>
                </a:lnTo>
                <a:lnTo>
                  <a:pt x="5091049" y="60347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31" name="Forma libre 30">
            <a:extLst>
              <a:ext uri="{FF2B5EF4-FFF2-40B4-BE49-F238E27FC236}">
                <a16:creationId xmlns:a16="http://schemas.microsoft.com/office/drawing/2014/main" id="{514E1C5A-FFFB-E343-914B-27E289F86554}"/>
              </a:ext>
            </a:extLst>
          </p:cNvPr>
          <p:cNvSpPr/>
          <p:nvPr/>
        </p:nvSpPr>
        <p:spPr>
          <a:xfrm flipH="1">
            <a:off x="-1600970" y="-17429"/>
            <a:ext cx="8904057" cy="9876272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  <a:gd name="connsiteX0" fmla="*/ 0 w 11069052"/>
              <a:gd name="connsiteY0" fmla="*/ 3176337 h 7483642"/>
              <a:gd name="connsiteX1" fmla="*/ 5149413 w 11069052"/>
              <a:gd name="connsiteY1" fmla="*/ 1685998 h 7483642"/>
              <a:gd name="connsiteX2" fmla="*/ 11069052 w 11069052"/>
              <a:gd name="connsiteY2" fmla="*/ 0 h 7483642"/>
              <a:gd name="connsiteX3" fmla="*/ 11069052 w 11069052"/>
              <a:gd name="connsiteY3" fmla="*/ 7483642 h 7483642"/>
              <a:gd name="connsiteX4" fmla="*/ 10804358 w 11069052"/>
              <a:gd name="connsiteY4" fmla="*/ 7483642 h 7483642"/>
              <a:gd name="connsiteX5" fmla="*/ 0 w 11069052"/>
              <a:gd name="connsiteY5" fmla="*/ 7483642 h 7483642"/>
              <a:gd name="connsiteX6" fmla="*/ 0 w 11069052"/>
              <a:gd name="connsiteY6" fmla="*/ 3176337 h 7483642"/>
              <a:gd name="connsiteX0" fmla="*/ 0 w 11069052"/>
              <a:gd name="connsiteY0" fmla="*/ 3176337 h 7489331"/>
              <a:gd name="connsiteX1" fmla="*/ 5149413 w 11069052"/>
              <a:gd name="connsiteY1" fmla="*/ 1685998 h 7489331"/>
              <a:gd name="connsiteX2" fmla="*/ 11069052 w 11069052"/>
              <a:gd name="connsiteY2" fmla="*/ 0 h 7489331"/>
              <a:gd name="connsiteX3" fmla="*/ 11069052 w 11069052"/>
              <a:gd name="connsiteY3" fmla="*/ 7483642 h 7489331"/>
              <a:gd name="connsiteX4" fmla="*/ 10804358 w 11069052"/>
              <a:gd name="connsiteY4" fmla="*/ 7483642 h 7489331"/>
              <a:gd name="connsiteX5" fmla="*/ 5287407 w 11069052"/>
              <a:gd name="connsiteY5" fmla="*/ 7489331 h 7489331"/>
              <a:gd name="connsiteX6" fmla="*/ 0 w 11069052"/>
              <a:gd name="connsiteY6" fmla="*/ 7483642 h 7489331"/>
              <a:gd name="connsiteX7" fmla="*/ 0 w 11069052"/>
              <a:gd name="connsiteY7" fmla="*/ 3176337 h 7489331"/>
              <a:gd name="connsiteX0" fmla="*/ 0 w 11069052"/>
              <a:gd name="connsiteY0" fmla="*/ 1490339 h 5803333"/>
              <a:gd name="connsiteX1" fmla="*/ 5149413 w 11069052"/>
              <a:gd name="connsiteY1" fmla="*/ 0 h 5803333"/>
              <a:gd name="connsiteX2" fmla="*/ 11069052 w 11069052"/>
              <a:gd name="connsiteY2" fmla="*/ 5797644 h 5803333"/>
              <a:gd name="connsiteX3" fmla="*/ 10804358 w 11069052"/>
              <a:gd name="connsiteY3" fmla="*/ 5797644 h 5803333"/>
              <a:gd name="connsiteX4" fmla="*/ 5287407 w 11069052"/>
              <a:gd name="connsiteY4" fmla="*/ 5803333 h 5803333"/>
              <a:gd name="connsiteX5" fmla="*/ 0 w 11069052"/>
              <a:gd name="connsiteY5" fmla="*/ 5797644 h 5803333"/>
              <a:gd name="connsiteX6" fmla="*/ 0 w 11069052"/>
              <a:gd name="connsiteY6" fmla="*/ 1490339 h 5803333"/>
              <a:gd name="connsiteX0" fmla="*/ 0 w 10804358"/>
              <a:gd name="connsiteY0" fmla="*/ 1490339 h 5803333"/>
              <a:gd name="connsiteX1" fmla="*/ 5149413 w 10804358"/>
              <a:gd name="connsiteY1" fmla="*/ 0 h 5803333"/>
              <a:gd name="connsiteX2" fmla="*/ 10804358 w 10804358"/>
              <a:gd name="connsiteY2" fmla="*/ 5797644 h 5803333"/>
              <a:gd name="connsiteX3" fmla="*/ 5287407 w 10804358"/>
              <a:gd name="connsiteY3" fmla="*/ 5803333 h 5803333"/>
              <a:gd name="connsiteX4" fmla="*/ 0 w 10804358"/>
              <a:gd name="connsiteY4" fmla="*/ 5797644 h 5803333"/>
              <a:gd name="connsiteX5" fmla="*/ 0 w 10804358"/>
              <a:gd name="connsiteY5" fmla="*/ 1490339 h 5803333"/>
              <a:gd name="connsiteX0" fmla="*/ 0 w 5287407"/>
              <a:gd name="connsiteY0" fmla="*/ 1490339 h 5803333"/>
              <a:gd name="connsiteX1" fmla="*/ 5149413 w 5287407"/>
              <a:gd name="connsiteY1" fmla="*/ 0 h 5803333"/>
              <a:gd name="connsiteX2" fmla="*/ 5287407 w 5287407"/>
              <a:gd name="connsiteY2" fmla="*/ 5803333 h 5803333"/>
              <a:gd name="connsiteX3" fmla="*/ 0 w 5287407"/>
              <a:gd name="connsiteY3" fmla="*/ 5797644 h 5803333"/>
              <a:gd name="connsiteX4" fmla="*/ 0 w 5287407"/>
              <a:gd name="connsiteY4" fmla="*/ 1490339 h 580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87407" h="5803333">
                <a:moveTo>
                  <a:pt x="0" y="1490339"/>
                </a:moveTo>
                <a:lnTo>
                  <a:pt x="5149413" y="0"/>
                </a:lnTo>
                <a:lnTo>
                  <a:pt x="5287407" y="5803333"/>
                </a:lnTo>
                <a:lnTo>
                  <a:pt x="0" y="5797644"/>
                </a:lnTo>
                <a:lnTo>
                  <a:pt x="0" y="149033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26881D0C-0CDA-D645-9F21-7900F6681EBE}"/>
              </a:ext>
            </a:extLst>
          </p:cNvPr>
          <p:cNvGrpSpPr/>
          <p:nvPr/>
        </p:nvGrpSpPr>
        <p:grpSpPr>
          <a:xfrm>
            <a:off x="263352" y="3723280"/>
            <a:ext cx="12513264" cy="453376"/>
            <a:chOff x="4537695" y="4112522"/>
            <a:chExt cx="9130913" cy="340032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FCA2B901-6653-4F4C-96DC-D4BFC2175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537695" y="4112522"/>
              <a:ext cx="340032" cy="340032"/>
            </a:xfrm>
            <a:prstGeom prst="rect">
              <a:avLst/>
            </a:prstGeom>
          </p:spPr>
        </p:pic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0CA12346-5655-874F-A931-043D885E1975}"/>
                </a:ext>
              </a:extLst>
            </p:cNvPr>
            <p:cNvCxnSpPr>
              <a:cxnSpLocks/>
              <a:stCxn id="3" idx="3"/>
            </p:cNvCxnSpPr>
            <p:nvPr/>
          </p:nvCxnSpPr>
          <p:spPr>
            <a:xfrm>
              <a:off x="4877728" y="4282538"/>
              <a:ext cx="879088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o 55">
            <a:extLst>
              <a:ext uri="{FF2B5EF4-FFF2-40B4-BE49-F238E27FC236}">
                <a16:creationId xmlns:a16="http://schemas.microsoft.com/office/drawing/2014/main" id="{D4304AFE-9D62-0745-84BD-BB3D2891ED7E}"/>
              </a:ext>
            </a:extLst>
          </p:cNvPr>
          <p:cNvGrpSpPr/>
          <p:nvPr/>
        </p:nvGrpSpPr>
        <p:grpSpPr>
          <a:xfrm>
            <a:off x="1016490" y="3884099"/>
            <a:ext cx="1038413" cy="1073270"/>
            <a:chOff x="1653122" y="3538137"/>
            <a:chExt cx="1038413" cy="1073270"/>
          </a:xfrm>
        </p:grpSpPr>
        <p:grpSp>
          <p:nvGrpSpPr>
            <p:cNvPr id="19" name="Grupo 18">
              <a:extLst>
                <a:ext uri="{FF2B5EF4-FFF2-40B4-BE49-F238E27FC236}">
                  <a16:creationId xmlns:a16="http://schemas.microsoft.com/office/drawing/2014/main" id="{64FB47B3-F660-4F4B-8252-4BA778EE5B0E}"/>
                </a:ext>
              </a:extLst>
            </p:cNvPr>
            <p:cNvGrpSpPr/>
            <p:nvPr/>
          </p:nvGrpSpPr>
          <p:grpSpPr>
            <a:xfrm>
              <a:off x="1653122" y="3739054"/>
              <a:ext cx="1038413" cy="872353"/>
              <a:chOff x="167706" y="2425288"/>
              <a:chExt cx="778810" cy="654264"/>
            </a:xfrm>
          </p:grpSpPr>
          <p:sp>
            <p:nvSpPr>
              <p:cNvPr id="20" name="4 Rectángulo">
                <a:extLst>
                  <a:ext uri="{FF2B5EF4-FFF2-40B4-BE49-F238E27FC236}">
                    <a16:creationId xmlns:a16="http://schemas.microsoft.com/office/drawing/2014/main" id="{DA258950-6D57-2843-AB3B-EC54307AEB0C}"/>
                  </a:ext>
                </a:extLst>
              </p:cNvPr>
              <p:cNvSpPr/>
              <p:nvPr/>
            </p:nvSpPr>
            <p:spPr>
              <a:xfrm>
                <a:off x="167706" y="2871803"/>
                <a:ext cx="778810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Nace el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html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1" name="Conector recto 20">
                <a:extLst>
                  <a:ext uri="{FF2B5EF4-FFF2-40B4-BE49-F238E27FC236}">
                    <a16:creationId xmlns:a16="http://schemas.microsoft.com/office/drawing/2014/main" id="{BD0E9F04-3DEC-B64D-905E-DC80C535AF0E}"/>
                  </a:ext>
                </a:extLst>
              </p:cNvPr>
              <p:cNvCxnSpPr/>
              <p:nvPr/>
            </p:nvCxnSpPr>
            <p:spPr>
              <a:xfrm>
                <a:off x="258013" y="2850152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ítulo 3">
                <a:extLst>
                  <a:ext uri="{FF2B5EF4-FFF2-40B4-BE49-F238E27FC236}">
                    <a16:creationId xmlns:a16="http://schemas.microsoft.com/office/drawing/2014/main" id="{C9472640-E5B0-4E42-9BA9-F28A37AEDE6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7324" y="2425288"/>
                <a:ext cx="601169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1991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833CFDA9-B552-D549-B2AA-AC2DE267D65B}"/>
                </a:ext>
              </a:extLst>
            </p:cNvPr>
            <p:cNvSpPr/>
            <p:nvPr/>
          </p:nvSpPr>
          <p:spPr>
            <a:xfrm>
              <a:off x="1732613" y="3538137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upo 54">
            <a:extLst>
              <a:ext uri="{FF2B5EF4-FFF2-40B4-BE49-F238E27FC236}">
                <a16:creationId xmlns:a16="http://schemas.microsoft.com/office/drawing/2014/main" id="{247FC79B-EE37-BF43-9452-AF08306E3E57}"/>
              </a:ext>
            </a:extLst>
          </p:cNvPr>
          <p:cNvGrpSpPr/>
          <p:nvPr/>
        </p:nvGrpSpPr>
        <p:grpSpPr>
          <a:xfrm>
            <a:off x="3041424" y="3884099"/>
            <a:ext cx="851129" cy="1115565"/>
            <a:chOff x="5173722" y="3656765"/>
            <a:chExt cx="851129" cy="1115565"/>
          </a:xfrm>
        </p:grpSpPr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03986BF5-4B50-704B-854D-F1B3A8E4AF6E}"/>
                </a:ext>
              </a:extLst>
            </p:cNvPr>
            <p:cNvGrpSpPr/>
            <p:nvPr/>
          </p:nvGrpSpPr>
          <p:grpSpPr>
            <a:xfrm>
              <a:off x="5173722" y="3901858"/>
              <a:ext cx="851129" cy="870472"/>
              <a:chOff x="5868144" y="2678737"/>
              <a:chExt cx="638347" cy="652854"/>
            </a:xfrm>
          </p:grpSpPr>
          <p:sp>
            <p:nvSpPr>
              <p:cNvPr id="25" name="Título 3">
                <a:extLst>
                  <a:ext uri="{FF2B5EF4-FFF2-40B4-BE49-F238E27FC236}">
                    <a16:creationId xmlns:a16="http://schemas.microsoft.com/office/drawing/2014/main" id="{399C3DFE-D5E3-1448-B4E2-9BD7E1DC538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50969" y="2678737"/>
                <a:ext cx="555522" cy="429170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1995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4 Rectángulo">
                <a:extLst>
                  <a:ext uri="{FF2B5EF4-FFF2-40B4-BE49-F238E27FC236}">
                    <a16:creationId xmlns:a16="http://schemas.microsoft.com/office/drawing/2014/main" id="{B36A2F37-3151-3941-B4D9-DC0CADEDA975}"/>
                  </a:ext>
                </a:extLst>
              </p:cNvPr>
              <p:cNvSpPr/>
              <p:nvPr/>
            </p:nvSpPr>
            <p:spPr>
              <a:xfrm>
                <a:off x="5868144" y="3109847"/>
                <a:ext cx="638347" cy="2217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  <a:spcAft>
                    <a:spcPts val="400"/>
                  </a:spcAft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Javascript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7" name="Conector recto 26">
                <a:extLst>
                  <a:ext uri="{FF2B5EF4-FFF2-40B4-BE49-F238E27FC236}">
                    <a16:creationId xmlns:a16="http://schemas.microsoft.com/office/drawing/2014/main" id="{08698EDC-6985-5E4B-9FB4-8FB2A47F0862}"/>
                  </a:ext>
                </a:extLst>
              </p:cNvPr>
              <p:cNvCxnSpPr/>
              <p:nvPr/>
            </p:nvCxnSpPr>
            <p:spPr>
              <a:xfrm>
                <a:off x="5950969" y="3085190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17D01496-0CD7-D746-B7B2-4E6CA98B1F61}"/>
                </a:ext>
              </a:extLst>
            </p:cNvPr>
            <p:cNvSpPr/>
            <p:nvPr/>
          </p:nvSpPr>
          <p:spPr>
            <a:xfrm>
              <a:off x="5288259" y="3656765"/>
              <a:ext cx="156713" cy="156713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Grupo 52">
            <a:extLst>
              <a:ext uri="{FF2B5EF4-FFF2-40B4-BE49-F238E27FC236}">
                <a16:creationId xmlns:a16="http://schemas.microsoft.com/office/drawing/2014/main" id="{229E8BCF-7AD1-3A49-87CD-8ECDA4AD8C50}"/>
              </a:ext>
            </a:extLst>
          </p:cNvPr>
          <p:cNvGrpSpPr/>
          <p:nvPr/>
        </p:nvGrpSpPr>
        <p:grpSpPr>
          <a:xfrm>
            <a:off x="10018236" y="3871021"/>
            <a:ext cx="1862616" cy="1483610"/>
            <a:chOff x="9762821" y="3871021"/>
            <a:chExt cx="1862616" cy="1483610"/>
          </a:xfrm>
        </p:grpSpPr>
        <p:sp>
          <p:nvSpPr>
            <p:cNvPr id="44" name="Elipse 43">
              <a:extLst>
                <a:ext uri="{FF2B5EF4-FFF2-40B4-BE49-F238E27FC236}">
                  <a16:creationId xmlns:a16="http://schemas.microsoft.com/office/drawing/2014/main" id="{869BB38C-196E-CB48-B2C7-17E8BE08A92F}"/>
                </a:ext>
              </a:extLst>
            </p:cNvPr>
            <p:cNvSpPr/>
            <p:nvPr/>
          </p:nvSpPr>
          <p:spPr>
            <a:xfrm>
              <a:off x="9990242" y="387102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/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3659FD41-6D4D-3E4D-9953-244678753A31}"/>
                </a:ext>
              </a:extLst>
            </p:cNvPr>
            <p:cNvGrpSpPr/>
            <p:nvPr/>
          </p:nvGrpSpPr>
          <p:grpSpPr>
            <a:xfrm>
              <a:off x="9762821" y="4133486"/>
              <a:ext cx="1862616" cy="1221145"/>
              <a:chOff x="5795652" y="1828465"/>
              <a:chExt cx="1396962" cy="915859"/>
            </a:xfrm>
          </p:grpSpPr>
          <p:sp>
            <p:nvSpPr>
              <p:cNvPr id="39" name="Título 3">
                <a:extLst>
                  <a:ext uri="{FF2B5EF4-FFF2-40B4-BE49-F238E27FC236}">
                    <a16:creationId xmlns:a16="http://schemas.microsoft.com/office/drawing/2014/main" id="{AB61F8D3-4405-DC41-8D4E-77BCFC2D804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50969" y="1828465"/>
                <a:ext cx="660920" cy="355466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08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0" name="4 Rectángulo">
                <a:extLst>
                  <a:ext uri="{FF2B5EF4-FFF2-40B4-BE49-F238E27FC236}">
                    <a16:creationId xmlns:a16="http://schemas.microsoft.com/office/drawing/2014/main" id="{B0EF3183-196E-7F41-9C9E-BCFE602533C7}"/>
                  </a:ext>
                </a:extLst>
              </p:cNvPr>
              <p:cNvSpPr/>
              <p:nvPr/>
            </p:nvSpPr>
            <p:spPr>
              <a:xfrm>
                <a:off x="5795652" y="2259576"/>
                <a:ext cx="1396962" cy="4847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Nace el diseño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responsive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Ve la luz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Phonegap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1" name="Conector recto 40">
                <a:extLst>
                  <a:ext uri="{FF2B5EF4-FFF2-40B4-BE49-F238E27FC236}">
                    <a16:creationId xmlns:a16="http://schemas.microsoft.com/office/drawing/2014/main" id="{AEE436FB-6881-6641-9D7D-E4A46ADEA5B9}"/>
                  </a:ext>
                </a:extLst>
              </p:cNvPr>
              <p:cNvCxnSpPr/>
              <p:nvPr/>
            </p:nvCxnSpPr>
            <p:spPr>
              <a:xfrm>
                <a:off x="5950969" y="2234918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Título 3">
            <a:extLst>
              <a:ext uri="{FF2B5EF4-FFF2-40B4-BE49-F238E27FC236}">
                <a16:creationId xmlns:a16="http://schemas.microsoft.com/office/drawing/2014/main" id="{4FB035EE-CC6C-5840-B971-93DBD43018E2}"/>
              </a:ext>
            </a:extLst>
          </p:cNvPr>
          <p:cNvSpPr txBox="1">
            <a:spLocks/>
          </p:cNvSpPr>
          <p:nvPr/>
        </p:nvSpPr>
        <p:spPr>
          <a:xfrm>
            <a:off x="309060" y="2947999"/>
            <a:ext cx="962404" cy="5113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sz="3600" dirty="0">
                <a:solidFill>
                  <a:schemeClr val="bg1"/>
                </a:solidFill>
              </a:rPr>
              <a:t>1990</a:t>
            </a:r>
            <a:endParaRPr lang="es-ES" dirty="0">
              <a:solidFill>
                <a:schemeClr val="bg1"/>
              </a:solidFill>
            </a:endParaRPr>
          </a:p>
        </p:txBody>
      </p:sp>
      <p:grpSp>
        <p:nvGrpSpPr>
          <p:cNvPr id="36" name="Grupo 35">
            <a:extLst>
              <a:ext uri="{FF2B5EF4-FFF2-40B4-BE49-F238E27FC236}">
                <a16:creationId xmlns:a16="http://schemas.microsoft.com/office/drawing/2014/main" id="{A3996A8B-8DCA-CC45-9DA4-66C59E5B7F26}"/>
              </a:ext>
            </a:extLst>
          </p:cNvPr>
          <p:cNvGrpSpPr/>
          <p:nvPr/>
        </p:nvGrpSpPr>
        <p:grpSpPr>
          <a:xfrm>
            <a:off x="1875147" y="2788879"/>
            <a:ext cx="1386018" cy="1233693"/>
            <a:chOff x="1653122" y="1328681"/>
            <a:chExt cx="1386018" cy="1233693"/>
          </a:xfrm>
        </p:grpSpPr>
        <p:grpSp>
          <p:nvGrpSpPr>
            <p:cNvPr id="37" name="Grupo 36">
              <a:extLst>
                <a:ext uri="{FF2B5EF4-FFF2-40B4-BE49-F238E27FC236}">
                  <a16:creationId xmlns:a16="http://schemas.microsoft.com/office/drawing/2014/main" id="{3289F06C-D296-3843-B178-97A176E7720B}"/>
                </a:ext>
              </a:extLst>
            </p:cNvPr>
            <p:cNvGrpSpPr/>
            <p:nvPr/>
          </p:nvGrpSpPr>
          <p:grpSpPr>
            <a:xfrm>
              <a:off x="1653122" y="1328681"/>
              <a:ext cx="1386018" cy="1057020"/>
              <a:chOff x="167706" y="617510"/>
              <a:chExt cx="1039514" cy="792765"/>
            </a:xfrm>
          </p:grpSpPr>
          <p:sp>
            <p:nvSpPr>
              <p:cNvPr id="45" name="4 Rectángulo">
                <a:extLst>
                  <a:ext uri="{FF2B5EF4-FFF2-40B4-BE49-F238E27FC236}">
                    <a16:creationId xmlns:a16="http://schemas.microsoft.com/office/drawing/2014/main" id="{87282184-3A29-A942-B7A7-3E7E1E0ADFA7}"/>
                  </a:ext>
                </a:extLst>
              </p:cNvPr>
              <p:cNvSpPr/>
              <p:nvPr/>
            </p:nvSpPr>
            <p:spPr>
              <a:xfrm>
                <a:off x="167706" y="1064026"/>
                <a:ext cx="1039514" cy="3462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Se añaden </a:t>
                </a:r>
              </a:p>
              <a:p>
                <a:r>
                  <a:rPr lang="es-ES" sz="1200" dirty="0">
                    <a:solidFill>
                      <a:schemeClr val="bg1"/>
                    </a:solidFill>
                  </a:rPr>
                  <a:t>las tablas al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html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C7BB840E-E43D-9E44-9D3E-8B61F1259B22}"/>
                  </a:ext>
                </a:extLst>
              </p:cNvPr>
              <p:cNvCxnSpPr/>
              <p:nvPr/>
            </p:nvCxnSpPr>
            <p:spPr>
              <a:xfrm>
                <a:off x="258013" y="1042373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ítulo 3">
                <a:extLst>
                  <a:ext uri="{FF2B5EF4-FFF2-40B4-BE49-F238E27FC236}">
                    <a16:creationId xmlns:a16="http://schemas.microsoft.com/office/drawing/2014/main" id="{3DE4DFA8-5BBB-1047-AA66-79047BD43B3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617510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1993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5DC4DECC-3EEB-644F-B877-48E3854F0087}"/>
                </a:ext>
              </a:extLst>
            </p:cNvPr>
            <p:cNvSpPr/>
            <p:nvPr/>
          </p:nvSpPr>
          <p:spPr>
            <a:xfrm>
              <a:off x="1732613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upo 47">
            <a:extLst>
              <a:ext uri="{FF2B5EF4-FFF2-40B4-BE49-F238E27FC236}">
                <a16:creationId xmlns:a16="http://schemas.microsoft.com/office/drawing/2014/main" id="{F43AA8B3-1DFB-B24F-A65F-C15CE86DAD0A}"/>
              </a:ext>
            </a:extLst>
          </p:cNvPr>
          <p:cNvGrpSpPr/>
          <p:nvPr/>
        </p:nvGrpSpPr>
        <p:grpSpPr>
          <a:xfrm>
            <a:off x="2639741" y="7039648"/>
            <a:ext cx="2620352" cy="1155906"/>
            <a:chOff x="1653122" y="2445698"/>
            <a:chExt cx="2620352" cy="1155906"/>
          </a:xfrm>
        </p:grpSpPr>
        <p:grpSp>
          <p:nvGrpSpPr>
            <p:cNvPr id="49" name="Grupo 48">
              <a:extLst>
                <a:ext uri="{FF2B5EF4-FFF2-40B4-BE49-F238E27FC236}">
                  <a16:creationId xmlns:a16="http://schemas.microsoft.com/office/drawing/2014/main" id="{E52203CB-588E-584C-9F69-D8A70E7A79CE}"/>
                </a:ext>
              </a:extLst>
            </p:cNvPr>
            <p:cNvGrpSpPr/>
            <p:nvPr/>
          </p:nvGrpSpPr>
          <p:grpSpPr>
            <a:xfrm>
              <a:off x="1653122" y="2636915"/>
              <a:ext cx="2620352" cy="964689"/>
              <a:chOff x="167706" y="1598684"/>
              <a:chExt cx="1965264" cy="723516"/>
            </a:xfrm>
          </p:grpSpPr>
          <p:sp>
            <p:nvSpPr>
              <p:cNvPr id="51" name="4 Rectángulo">
                <a:extLst>
                  <a:ext uri="{FF2B5EF4-FFF2-40B4-BE49-F238E27FC236}">
                    <a16:creationId xmlns:a16="http://schemas.microsoft.com/office/drawing/2014/main" id="{00721167-2A9C-9941-A4F1-C7BD81DB6148}"/>
                  </a:ext>
                </a:extLst>
              </p:cNvPr>
              <p:cNvSpPr/>
              <p:nvPr/>
            </p:nvSpPr>
            <p:spPr>
              <a:xfrm>
                <a:off x="167706" y="2045201"/>
                <a:ext cx="1965264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800" dirty="0"/>
                  <a:t>Nace el </a:t>
                </a:r>
                <a:r>
                  <a:rPr lang="es-ES" sz="1800" dirty="0" err="1"/>
                  <a:t>html</a:t>
                </a:r>
                <a:endParaRPr lang="es-ES" sz="1800" dirty="0"/>
              </a:p>
            </p:txBody>
          </p:sp>
          <p:cxnSp>
            <p:nvCxnSpPr>
              <p:cNvPr id="52" name="Conector recto 51">
                <a:extLst>
                  <a:ext uri="{FF2B5EF4-FFF2-40B4-BE49-F238E27FC236}">
                    <a16:creationId xmlns:a16="http://schemas.microsoft.com/office/drawing/2014/main" id="{0B2C6952-F934-2D40-B0D2-7D2F747224A2}"/>
                  </a:ext>
                </a:extLst>
              </p:cNvPr>
              <p:cNvCxnSpPr/>
              <p:nvPr/>
            </p:nvCxnSpPr>
            <p:spPr>
              <a:xfrm>
                <a:off x="258013" y="2023548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ítulo 3">
                <a:extLst>
                  <a:ext uri="{FF2B5EF4-FFF2-40B4-BE49-F238E27FC236}">
                    <a16:creationId xmlns:a16="http://schemas.microsoft.com/office/drawing/2014/main" id="{954CD41D-9237-5A43-841B-0AB14DC36E5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1598684"/>
                <a:ext cx="1476791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sz="4000" dirty="0"/>
                  <a:t>1991</a:t>
                </a:r>
                <a:endParaRPr lang="es-ES" sz="3200" dirty="0"/>
              </a:p>
            </p:txBody>
          </p:sp>
        </p:grpSp>
        <p:sp>
          <p:nvSpPr>
            <p:cNvPr id="50" name="Elipse 49">
              <a:extLst>
                <a:ext uri="{FF2B5EF4-FFF2-40B4-BE49-F238E27FC236}">
                  <a16:creationId xmlns:a16="http://schemas.microsoft.com/office/drawing/2014/main" id="{CE7AC308-8A6B-0B47-935D-CEF100D586F6}"/>
                </a:ext>
              </a:extLst>
            </p:cNvPr>
            <p:cNvSpPr/>
            <p:nvPr/>
          </p:nvSpPr>
          <p:spPr>
            <a:xfrm>
              <a:off x="1732613" y="2445698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3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upo 57">
            <a:extLst>
              <a:ext uri="{FF2B5EF4-FFF2-40B4-BE49-F238E27FC236}">
                <a16:creationId xmlns:a16="http://schemas.microsoft.com/office/drawing/2014/main" id="{69AB4CB3-D2D7-174F-9F2B-1B92FCD7AA95}"/>
              </a:ext>
            </a:extLst>
          </p:cNvPr>
          <p:cNvGrpSpPr/>
          <p:nvPr/>
        </p:nvGrpSpPr>
        <p:grpSpPr>
          <a:xfrm>
            <a:off x="5036215" y="3871021"/>
            <a:ext cx="1241694" cy="1114278"/>
            <a:chOff x="9946011" y="3871021"/>
            <a:chExt cx="1241694" cy="1114278"/>
          </a:xfrm>
        </p:grpSpPr>
        <p:sp>
          <p:nvSpPr>
            <p:cNvPr id="59" name="Elipse 58">
              <a:extLst>
                <a:ext uri="{FF2B5EF4-FFF2-40B4-BE49-F238E27FC236}">
                  <a16:creationId xmlns:a16="http://schemas.microsoft.com/office/drawing/2014/main" id="{9603D78D-FA5B-F243-A90D-29A53B5375DB}"/>
                </a:ext>
              </a:extLst>
            </p:cNvPr>
            <p:cNvSpPr/>
            <p:nvPr/>
          </p:nvSpPr>
          <p:spPr>
            <a:xfrm>
              <a:off x="10056440" y="387102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  <p:grpSp>
          <p:nvGrpSpPr>
            <p:cNvPr id="60" name="Grupo 59">
              <a:extLst>
                <a:ext uri="{FF2B5EF4-FFF2-40B4-BE49-F238E27FC236}">
                  <a16:creationId xmlns:a16="http://schemas.microsoft.com/office/drawing/2014/main" id="{D4B2EB80-7399-E547-86E8-3E8A1DB1559A}"/>
                </a:ext>
              </a:extLst>
            </p:cNvPr>
            <p:cNvGrpSpPr/>
            <p:nvPr/>
          </p:nvGrpSpPr>
          <p:grpSpPr>
            <a:xfrm>
              <a:off x="9946011" y="4133486"/>
              <a:ext cx="1241694" cy="851813"/>
              <a:chOff x="5933042" y="1828465"/>
              <a:chExt cx="931270" cy="638860"/>
            </a:xfrm>
          </p:grpSpPr>
          <p:sp>
            <p:nvSpPr>
              <p:cNvPr id="61" name="Título 3">
                <a:extLst>
                  <a:ext uri="{FF2B5EF4-FFF2-40B4-BE49-F238E27FC236}">
                    <a16:creationId xmlns:a16="http://schemas.microsoft.com/office/drawing/2014/main" id="{EBDB55F4-3045-EB44-B156-761BD4567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15865" y="1828465"/>
                <a:ext cx="565799" cy="348129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1998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4 Rectángulo">
                <a:extLst>
                  <a:ext uri="{FF2B5EF4-FFF2-40B4-BE49-F238E27FC236}">
                    <a16:creationId xmlns:a16="http://schemas.microsoft.com/office/drawing/2014/main" id="{B5C27FF1-5C79-F442-85D7-F610EFF0BA4A}"/>
                  </a:ext>
                </a:extLst>
              </p:cNvPr>
              <p:cNvSpPr/>
              <p:nvPr/>
            </p:nvSpPr>
            <p:spPr>
              <a:xfrm>
                <a:off x="5933042" y="2259576"/>
                <a:ext cx="931270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Se crean las JSP</a:t>
                </a:r>
              </a:p>
            </p:txBody>
          </p:sp>
          <p:cxnSp>
            <p:nvCxnSpPr>
              <p:cNvPr id="63" name="Conector recto 62">
                <a:extLst>
                  <a:ext uri="{FF2B5EF4-FFF2-40B4-BE49-F238E27FC236}">
                    <a16:creationId xmlns:a16="http://schemas.microsoft.com/office/drawing/2014/main" id="{E3A8153E-0FD7-9D4A-8329-AC56E35B9A44}"/>
                  </a:ext>
                </a:extLst>
              </p:cNvPr>
              <p:cNvCxnSpPr/>
              <p:nvPr/>
            </p:nvCxnSpPr>
            <p:spPr>
              <a:xfrm>
                <a:off x="6015865" y="2234918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5" name="Grupo 64">
            <a:extLst>
              <a:ext uri="{FF2B5EF4-FFF2-40B4-BE49-F238E27FC236}">
                <a16:creationId xmlns:a16="http://schemas.microsoft.com/office/drawing/2014/main" id="{BB2DBFC3-7200-6549-AF14-C1740063DE39}"/>
              </a:ext>
            </a:extLst>
          </p:cNvPr>
          <p:cNvGrpSpPr/>
          <p:nvPr/>
        </p:nvGrpSpPr>
        <p:grpSpPr>
          <a:xfrm>
            <a:off x="5929830" y="2896437"/>
            <a:ext cx="1241694" cy="1131297"/>
            <a:chOff x="9946011" y="2896437"/>
            <a:chExt cx="1241694" cy="1131297"/>
          </a:xfrm>
        </p:grpSpPr>
        <p:sp>
          <p:nvSpPr>
            <p:cNvPr id="66" name="Elipse 65">
              <a:extLst>
                <a:ext uri="{FF2B5EF4-FFF2-40B4-BE49-F238E27FC236}">
                  <a16:creationId xmlns:a16="http://schemas.microsoft.com/office/drawing/2014/main" id="{A21F482B-9900-DC40-8F42-6CF46CDE0388}"/>
                </a:ext>
              </a:extLst>
            </p:cNvPr>
            <p:cNvSpPr/>
            <p:nvPr/>
          </p:nvSpPr>
          <p:spPr>
            <a:xfrm>
              <a:off x="10056440" y="387102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  <p:grpSp>
          <p:nvGrpSpPr>
            <p:cNvPr id="67" name="Grupo 66">
              <a:extLst>
                <a:ext uri="{FF2B5EF4-FFF2-40B4-BE49-F238E27FC236}">
                  <a16:creationId xmlns:a16="http://schemas.microsoft.com/office/drawing/2014/main" id="{31F25B31-2BD8-244B-8E83-32042156573E}"/>
                </a:ext>
              </a:extLst>
            </p:cNvPr>
            <p:cNvGrpSpPr/>
            <p:nvPr/>
          </p:nvGrpSpPr>
          <p:grpSpPr>
            <a:xfrm>
              <a:off x="9946011" y="2896437"/>
              <a:ext cx="1241694" cy="851813"/>
              <a:chOff x="5933042" y="900678"/>
              <a:chExt cx="931270" cy="638860"/>
            </a:xfrm>
          </p:grpSpPr>
          <p:sp>
            <p:nvSpPr>
              <p:cNvPr id="68" name="Título 3">
                <a:extLst>
                  <a:ext uri="{FF2B5EF4-FFF2-40B4-BE49-F238E27FC236}">
                    <a16:creationId xmlns:a16="http://schemas.microsoft.com/office/drawing/2014/main" id="{D308B01A-82BA-7F42-86A9-64A01286F1B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15865" y="900678"/>
                <a:ext cx="565799" cy="348129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1999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4 Rectángulo">
                <a:extLst>
                  <a:ext uri="{FF2B5EF4-FFF2-40B4-BE49-F238E27FC236}">
                    <a16:creationId xmlns:a16="http://schemas.microsoft.com/office/drawing/2014/main" id="{E1FEB550-8959-024D-B692-07BD852046B3}"/>
                  </a:ext>
                </a:extLst>
              </p:cNvPr>
              <p:cNvSpPr/>
              <p:nvPr/>
            </p:nvSpPr>
            <p:spPr>
              <a:xfrm>
                <a:off x="5933042" y="1331789"/>
                <a:ext cx="931270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Nace Ajax</a:t>
                </a:r>
              </a:p>
            </p:txBody>
          </p:sp>
          <p:cxnSp>
            <p:nvCxnSpPr>
              <p:cNvPr id="70" name="Conector recto 69">
                <a:extLst>
                  <a:ext uri="{FF2B5EF4-FFF2-40B4-BE49-F238E27FC236}">
                    <a16:creationId xmlns:a16="http://schemas.microsoft.com/office/drawing/2014/main" id="{ADFA7142-D7D0-8244-BB9C-5E97204877B4}"/>
                  </a:ext>
                </a:extLst>
              </p:cNvPr>
              <p:cNvCxnSpPr/>
              <p:nvPr/>
            </p:nvCxnSpPr>
            <p:spPr>
              <a:xfrm>
                <a:off x="6015865" y="1307131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69FC1B7F-06BD-F645-841E-5C5F51A50050}"/>
              </a:ext>
            </a:extLst>
          </p:cNvPr>
          <p:cNvSpPr/>
          <p:nvPr/>
        </p:nvSpPr>
        <p:spPr>
          <a:xfrm>
            <a:off x="-1855280" y="-17430"/>
            <a:ext cx="1855280" cy="69748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3E6A1302-09D9-7040-BF1F-ECDC14A8F98F}"/>
              </a:ext>
            </a:extLst>
          </p:cNvPr>
          <p:cNvSpPr/>
          <p:nvPr/>
        </p:nvSpPr>
        <p:spPr>
          <a:xfrm>
            <a:off x="12199791" y="0"/>
            <a:ext cx="1320824" cy="69573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72" name="Grupo 71">
            <a:extLst>
              <a:ext uri="{FF2B5EF4-FFF2-40B4-BE49-F238E27FC236}">
                <a16:creationId xmlns:a16="http://schemas.microsoft.com/office/drawing/2014/main" id="{8BBED829-6BEF-7648-B4A6-76A1CD56F265}"/>
              </a:ext>
            </a:extLst>
          </p:cNvPr>
          <p:cNvGrpSpPr/>
          <p:nvPr/>
        </p:nvGrpSpPr>
        <p:grpSpPr>
          <a:xfrm>
            <a:off x="7715151" y="3871021"/>
            <a:ext cx="1241694" cy="1100033"/>
            <a:chOff x="9946011" y="3871021"/>
            <a:chExt cx="1241694" cy="1100033"/>
          </a:xfrm>
        </p:grpSpPr>
        <p:sp>
          <p:nvSpPr>
            <p:cNvPr id="73" name="Elipse 72">
              <a:extLst>
                <a:ext uri="{FF2B5EF4-FFF2-40B4-BE49-F238E27FC236}">
                  <a16:creationId xmlns:a16="http://schemas.microsoft.com/office/drawing/2014/main" id="{446AC7B2-6E14-5847-B68F-48CDA120E986}"/>
                </a:ext>
              </a:extLst>
            </p:cNvPr>
            <p:cNvSpPr/>
            <p:nvPr/>
          </p:nvSpPr>
          <p:spPr>
            <a:xfrm>
              <a:off x="10056440" y="387102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  <p:grpSp>
          <p:nvGrpSpPr>
            <p:cNvPr id="74" name="Grupo 73">
              <a:extLst>
                <a:ext uri="{FF2B5EF4-FFF2-40B4-BE49-F238E27FC236}">
                  <a16:creationId xmlns:a16="http://schemas.microsoft.com/office/drawing/2014/main" id="{985CB84C-BC16-374A-BD6A-68572F4AE0BC}"/>
                </a:ext>
              </a:extLst>
            </p:cNvPr>
            <p:cNvGrpSpPr/>
            <p:nvPr/>
          </p:nvGrpSpPr>
          <p:grpSpPr>
            <a:xfrm>
              <a:off x="9946011" y="4119240"/>
              <a:ext cx="1241694" cy="851814"/>
              <a:chOff x="5933042" y="1817781"/>
              <a:chExt cx="931270" cy="638861"/>
            </a:xfrm>
          </p:grpSpPr>
          <p:sp>
            <p:nvSpPr>
              <p:cNvPr id="75" name="Título 3">
                <a:extLst>
                  <a:ext uri="{FF2B5EF4-FFF2-40B4-BE49-F238E27FC236}">
                    <a16:creationId xmlns:a16="http://schemas.microsoft.com/office/drawing/2014/main" id="{868677FF-067C-DF4B-B111-8DEA5EE561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15865" y="1817781"/>
                <a:ext cx="565799" cy="348129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05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4 Rectángulo">
                <a:extLst>
                  <a:ext uri="{FF2B5EF4-FFF2-40B4-BE49-F238E27FC236}">
                    <a16:creationId xmlns:a16="http://schemas.microsoft.com/office/drawing/2014/main" id="{6C69991D-EB98-C242-978F-A9E9B87037A9}"/>
                  </a:ext>
                </a:extLst>
              </p:cNvPr>
              <p:cNvSpPr/>
              <p:nvPr/>
            </p:nvSpPr>
            <p:spPr>
              <a:xfrm>
                <a:off x="5933042" y="2248893"/>
                <a:ext cx="931270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 Primera SPA</a:t>
                </a:r>
              </a:p>
            </p:txBody>
          </p:sp>
          <p:cxnSp>
            <p:nvCxnSpPr>
              <p:cNvPr id="77" name="Conector recto 76">
                <a:extLst>
                  <a:ext uri="{FF2B5EF4-FFF2-40B4-BE49-F238E27FC236}">
                    <a16:creationId xmlns:a16="http://schemas.microsoft.com/office/drawing/2014/main" id="{0F9BDCCE-3F89-7441-AC8F-B63B3B498502}"/>
                  </a:ext>
                </a:extLst>
              </p:cNvPr>
              <p:cNvCxnSpPr/>
              <p:nvPr/>
            </p:nvCxnSpPr>
            <p:spPr>
              <a:xfrm>
                <a:off x="6015865" y="2224235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9" name="Grupo 78">
            <a:extLst>
              <a:ext uri="{FF2B5EF4-FFF2-40B4-BE49-F238E27FC236}">
                <a16:creationId xmlns:a16="http://schemas.microsoft.com/office/drawing/2014/main" id="{57459545-5036-2B4D-8B18-E03BAFBE1B35}"/>
              </a:ext>
            </a:extLst>
          </p:cNvPr>
          <p:cNvGrpSpPr/>
          <p:nvPr/>
        </p:nvGrpSpPr>
        <p:grpSpPr>
          <a:xfrm>
            <a:off x="3843742" y="2792320"/>
            <a:ext cx="1282915" cy="1248492"/>
            <a:chOff x="5225504" y="2564986"/>
            <a:chExt cx="1282915" cy="1248492"/>
          </a:xfrm>
        </p:grpSpPr>
        <p:grpSp>
          <p:nvGrpSpPr>
            <p:cNvPr id="80" name="Grupo 79">
              <a:extLst>
                <a:ext uri="{FF2B5EF4-FFF2-40B4-BE49-F238E27FC236}">
                  <a16:creationId xmlns:a16="http://schemas.microsoft.com/office/drawing/2014/main" id="{D946FD48-741D-0440-B7AE-DDE09B28BFD0}"/>
                </a:ext>
              </a:extLst>
            </p:cNvPr>
            <p:cNvGrpSpPr/>
            <p:nvPr/>
          </p:nvGrpSpPr>
          <p:grpSpPr>
            <a:xfrm>
              <a:off x="5225504" y="2564986"/>
              <a:ext cx="1282915" cy="1221145"/>
              <a:chOff x="5906977" y="1676083"/>
              <a:chExt cx="962186" cy="915859"/>
            </a:xfrm>
          </p:grpSpPr>
          <p:sp>
            <p:nvSpPr>
              <p:cNvPr id="82" name="Título 3">
                <a:extLst>
                  <a:ext uri="{FF2B5EF4-FFF2-40B4-BE49-F238E27FC236}">
                    <a16:creationId xmlns:a16="http://schemas.microsoft.com/office/drawing/2014/main" id="{9FDB4631-7220-4744-8088-10EF66BEE5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89801" y="1676083"/>
                <a:ext cx="555522" cy="233516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1997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4 Rectángulo">
                <a:extLst>
                  <a:ext uri="{FF2B5EF4-FFF2-40B4-BE49-F238E27FC236}">
                    <a16:creationId xmlns:a16="http://schemas.microsoft.com/office/drawing/2014/main" id="{E95BCBB0-F98C-1448-8A0F-458B26E6A565}"/>
                  </a:ext>
                </a:extLst>
              </p:cNvPr>
              <p:cNvSpPr/>
              <p:nvPr/>
            </p:nvSpPr>
            <p:spPr>
              <a:xfrm>
                <a:off x="5906977" y="2107194"/>
                <a:ext cx="962186" cy="4847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Se añaden </a:t>
                </a:r>
              </a:p>
              <a:p>
                <a:r>
                  <a:rPr lang="es-ES" sz="1200" dirty="0">
                    <a:solidFill>
                      <a:schemeClr val="bg1"/>
                    </a:solidFill>
                  </a:rPr>
                  <a:t>los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div´s</a:t>
                </a:r>
                <a:r>
                  <a:rPr lang="es-ES" sz="1200" dirty="0">
                    <a:solidFill>
                      <a:schemeClr val="bg1"/>
                    </a:solidFill>
                  </a:rPr>
                  <a:t> al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html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84" name="Conector recto 83">
                <a:extLst>
                  <a:ext uri="{FF2B5EF4-FFF2-40B4-BE49-F238E27FC236}">
                    <a16:creationId xmlns:a16="http://schemas.microsoft.com/office/drawing/2014/main" id="{BC2197DD-BC5B-8040-A137-0318F829F485}"/>
                  </a:ext>
                </a:extLst>
              </p:cNvPr>
              <p:cNvCxnSpPr/>
              <p:nvPr/>
            </p:nvCxnSpPr>
            <p:spPr>
              <a:xfrm>
                <a:off x="5989801" y="2082537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1" name="Elipse 80">
              <a:extLst>
                <a:ext uri="{FF2B5EF4-FFF2-40B4-BE49-F238E27FC236}">
                  <a16:creationId xmlns:a16="http://schemas.microsoft.com/office/drawing/2014/main" id="{E91CD0EF-A711-5949-97B6-563730C0D289}"/>
                </a:ext>
              </a:extLst>
            </p:cNvPr>
            <p:cNvSpPr/>
            <p:nvPr/>
          </p:nvSpPr>
          <p:spPr>
            <a:xfrm>
              <a:off x="5288259" y="3656765"/>
              <a:ext cx="156713" cy="156713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5" name="Grupo 84">
            <a:extLst>
              <a:ext uri="{FF2B5EF4-FFF2-40B4-BE49-F238E27FC236}">
                <a16:creationId xmlns:a16="http://schemas.microsoft.com/office/drawing/2014/main" id="{A7AE822D-F919-8D46-B495-0B23F446A5C5}"/>
              </a:ext>
            </a:extLst>
          </p:cNvPr>
          <p:cNvGrpSpPr/>
          <p:nvPr/>
        </p:nvGrpSpPr>
        <p:grpSpPr>
          <a:xfrm>
            <a:off x="8874336" y="2997295"/>
            <a:ext cx="1066550" cy="1025434"/>
            <a:chOff x="9946010" y="4119240"/>
            <a:chExt cx="1066550" cy="1025434"/>
          </a:xfrm>
        </p:grpSpPr>
        <p:sp>
          <p:nvSpPr>
            <p:cNvPr id="86" name="Elipse 85">
              <a:extLst>
                <a:ext uri="{FF2B5EF4-FFF2-40B4-BE49-F238E27FC236}">
                  <a16:creationId xmlns:a16="http://schemas.microsoft.com/office/drawing/2014/main" id="{1A3A2A67-A600-F848-92A8-4637D929153F}"/>
                </a:ext>
              </a:extLst>
            </p:cNvPr>
            <p:cNvSpPr/>
            <p:nvPr/>
          </p:nvSpPr>
          <p:spPr>
            <a:xfrm>
              <a:off x="10056440" y="49879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  <p:grpSp>
          <p:nvGrpSpPr>
            <p:cNvPr id="87" name="Grupo 86">
              <a:extLst>
                <a:ext uri="{FF2B5EF4-FFF2-40B4-BE49-F238E27FC236}">
                  <a16:creationId xmlns:a16="http://schemas.microsoft.com/office/drawing/2014/main" id="{3AE6F6B2-ED7C-8E43-8142-AE6C0A6A46E0}"/>
                </a:ext>
              </a:extLst>
            </p:cNvPr>
            <p:cNvGrpSpPr/>
            <p:nvPr/>
          </p:nvGrpSpPr>
          <p:grpSpPr>
            <a:xfrm>
              <a:off x="9946010" y="4119240"/>
              <a:ext cx="1066550" cy="851814"/>
              <a:chOff x="5933041" y="1817781"/>
              <a:chExt cx="799912" cy="638861"/>
            </a:xfrm>
          </p:grpSpPr>
          <p:sp>
            <p:nvSpPr>
              <p:cNvPr id="88" name="Título 3">
                <a:extLst>
                  <a:ext uri="{FF2B5EF4-FFF2-40B4-BE49-F238E27FC236}">
                    <a16:creationId xmlns:a16="http://schemas.microsoft.com/office/drawing/2014/main" id="{4B8A73E4-9C13-7D44-B321-B0A1B90FD1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15865" y="1817781"/>
                <a:ext cx="633928" cy="348129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06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4 Rectángulo">
                <a:extLst>
                  <a:ext uri="{FF2B5EF4-FFF2-40B4-BE49-F238E27FC236}">
                    <a16:creationId xmlns:a16="http://schemas.microsoft.com/office/drawing/2014/main" id="{A220EA28-0B4E-8645-B857-A00F8B8D0008}"/>
                  </a:ext>
                </a:extLst>
              </p:cNvPr>
              <p:cNvSpPr/>
              <p:nvPr/>
            </p:nvSpPr>
            <p:spPr>
              <a:xfrm>
                <a:off x="5933041" y="2248893"/>
                <a:ext cx="799912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 err="1">
                    <a:solidFill>
                      <a:schemeClr val="bg1"/>
                    </a:solidFill>
                  </a:rPr>
                  <a:t>Jquery</a:t>
                </a:r>
                <a:r>
                  <a:rPr lang="es-ES" sz="1200" dirty="0">
                    <a:solidFill>
                      <a:schemeClr val="bg1"/>
                    </a:solidFill>
                  </a:rPr>
                  <a:t>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Sass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90" name="Conector recto 89">
                <a:extLst>
                  <a:ext uri="{FF2B5EF4-FFF2-40B4-BE49-F238E27FC236}">
                    <a16:creationId xmlns:a16="http://schemas.microsoft.com/office/drawing/2014/main" id="{D640D3E8-16EB-F34A-99F2-1142EAD571C9}"/>
                  </a:ext>
                </a:extLst>
              </p:cNvPr>
              <p:cNvCxnSpPr/>
              <p:nvPr/>
            </p:nvCxnSpPr>
            <p:spPr>
              <a:xfrm>
                <a:off x="6015865" y="2224235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Rectángulo 90">
            <a:extLst>
              <a:ext uri="{FF2B5EF4-FFF2-40B4-BE49-F238E27FC236}">
                <a16:creationId xmlns:a16="http://schemas.microsoft.com/office/drawing/2014/main" id="{E8868C0A-CEB4-7C4A-B9E8-4154E4180C30}"/>
              </a:ext>
            </a:extLst>
          </p:cNvPr>
          <p:cNvSpPr/>
          <p:nvPr/>
        </p:nvSpPr>
        <p:spPr>
          <a:xfrm rot="5400000">
            <a:off x="4761316" y="492928"/>
            <a:ext cx="2046393" cy="147709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449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25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75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5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7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25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1" animBg="1"/>
      <p:bldP spid="31" grpId="0" animBg="1"/>
      <p:bldP spid="3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246BEE5-A77A-2C4E-A1C0-F86AC5842C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1321" y="-1592893"/>
            <a:ext cx="5845081" cy="8767622"/>
          </a:xfrm>
          <a:prstGeom prst="rect">
            <a:avLst/>
          </a:prstGeom>
        </p:spPr>
      </p:pic>
      <p:sp>
        <p:nvSpPr>
          <p:cNvPr id="38" name="Forma libre 37">
            <a:extLst>
              <a:ext uri="{FF2B5EF4-FFF2-40B4-BE49-F238E27FC236}">
                <a16:creationId xmlns:a16="http://schemas.microsoft.com/office/drawing/2014/main" id="{10575C80-D8CD-0F47-8B19-5107BD88C7AF}"/>
              </a:ext>
            </a:extLst>
          </p:cNvPr>
          <p:cNvSpPr/>
          <p:nvPr/>
        </p:nvSpPr>
        <p:spPr>
          <a:xfrm rot="10800000" flipH="1">
            <a:off x="6575321" y="-2434295"/>
            <a:ext cx="5648286" cy="3859131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069052" h="7483642">
                <a:moveTo>
                  <a:pt x="0" y="3176337"/>
                </a:moveTo>
                <a:lnTo>
                  <a:pt x="11069052" y="0"/>
                </a:lnTo>
                <a:lnTo>
                  <a:pt x="11069052" y="7483642"/>
                </a:lnTo>
                <a:lnTo>
                  <a:pt x="10804358" y="7483642"/>
                </a:lnTo>
                <a:lnTo>
                  <a:pt x="0" y="7483642"/>
                </a:lnTo>
                <a:lnTo>
                  <a:pt x="0" y="3176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60" name="Forma libre 59">
            <a:extLst>
              <a:ext uri="{FF2B5EF4-FFF2-40B4-BE49-F238E27FC236}">
                <a16:creationId xmlns:a16="http://schemas.microsoft.com/office/drawing/2014/main" id="{F533803E-DFDE-7A42-A3EA-A4B7496E8D37}"/>
              </a:ext>
            </a:extLst>
          </p:cNvPr>
          <p:cNvSpPr/>
          <p:nvPr/>
        </p:nvSpPr>
        <p:spPr>
          <a:xfrm flipH="1">
            <a:off x="-257612" y="48061"/>
            <a:ext cx="9967133" cy="6809939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069052" h="7483642">
                <a:moveTo>
                  <a:pt x="0" y="3176337"/>
                </a:moveTo>
                <a:lnTo>
                  <a:pt x="11069052" y="0"/>
                </a:lnTo>
                <a:lnTo>
                  <a:pt x="11069052" y="7483642"/>
                </a:lnTo>
                <a:lnTo>
                  <a:pt x="10804358" y="7483642"/>
                </a:lnTo>
                <a:lnTo>
                  <a:pt x="0" y="7483642"/>
                </a:lnTo>
                <a:lnTo>
                  <a:pt x="0" y="31763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30" name="Título 3">
            <a:extLst>
              <a:ext uri="{FF2B5EF4-FFF2-40B4-BE49-F238E27FC236}">
                <a16:creationId xmlns:a16="http://schemas.microsoft.com/office/drawing/2014/main" id="{EBD68BD0-C58D-C14C-BC70-2BB7A9A2F819}"/>
              </a:ext>
            </a:extLst>
          </p:cNvPr>
          <p:cNvSpPr txBox="1">
            <a:spLocks/>
          </p:cNvSpPr>
          <p:nvPr/>
        </p:nvSpPr>
        <p:spPr>
          <a:xfrm>
            <a:off x="309060" y="2947999"/>
            <a:ext cx="962404" cy="5113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sz="3600" dirty="0">
                <a:solidFill>
                  <a:schemeClr val="bg1"/>
                </a:solidFill>
              </a:rPr>
              <a:t>2010</a:t>
            </a:r>
            <a:endParaRPr lang="es-ES" dirty="0">
              <a:solidFill>
                <a:schemeClr val="bg1"/>
              </a:solidFill>
            </a:endParaRP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47823D09-239D-674E-BD5E-958B5A3F705C}"/>
              </a:ext>
            </a:extLst>
          </p:cNvPr>
          <p:cNvGrpSpPr/>
          <p:nvPr/>
        </p:nvGrpSpPr>
        <p:grpSpPr>
          <a:xfrm>
            <a:off x="420064" y="3723280"/>
            <a:ext cx="12513264" cy="453376"/>
            <a:chOff x="4652048" y="4112522"/>
            <a:chExt cx="9130913" cy="340032"/>
          </a:xfrm>
        </p:grpSpPr>
        <p:pic>
          <p:nvPicPr>
            <p:cNvPr id="49" name="Imagen 48">
              <a:extLst>
                <a:ext uri="{FF2B5EF4-FFF2-40B4-BE49-F238E27FC236}">
                  <a16:creationId xmlns:a16="http://schemas.microsoft.com/office/drawing/2014/main" id="{102EF86E-EE8B-DC4E-AA3B-36AD495AB8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2048" y="4112522"/>
              <a:ext cx="340032" cy="340032"/>
            </a:xfrm>
            <a:prstGeom prst="rect">
              <a:avLst/>
            </a:prstGeom>
          </p:spPr>
        </p:pic>
        <p:cxnSp>
          <p:nvCxnSpPr>
            <p:cNvPr id="50" name="Conector recto 49">
              <a:extLst>
                <a:ext uri="{FF2B5EF4-FFF2-40B4-BE49-F238E27FC236}">
                  <a16:creationId xmlns:a16="http://schemas.microsoft.com/office/drawing/2014/main" id="{13C4BAB2-4E7D-D748-A3EC-7BC293F0F968}"/>
                </a:ext>
              </a:extLst>
            </p:cNvPr>
            <p:cNvCxnSpPr>
              <a:cxnSpLocks/>
              <a:stCxn id="49" idx="3"/>
            </p:cNvCxnSpPr>
            <p:nvPr/>
          </p:nvCxnSpPr>
          <p:spPr>
            <a:xfrm>
              <a:off x="4992081" y="4282538"/>
              <a:ext cx="879088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upo 30">
            <a:extLst>
              <a:ext uri="{FF2B5EF4-FFF2-40B4-BE49-F238E27FC236}">
                <a16:creationId xmlns:a16="http://schemas.microsoft.com/office/drawing/2014/main" id="{FFB72F60-2664-1541-8C59-4CB0C0683855}"/>
              </a:ext>
            </a:extLst>
          </p:cNvPr>
          <p:cNvGrpSpPr/>
          <p:nvPr/>
        </p:nvGrpSpPr>
        <p:grpSpPr>
          <a:xfrm>
            <a:off x="1119141" y="3867898"/>
            <a:ext cx="1038413" cy="2181264"/>
            <a:chOff x="1653122" y="3538137"/>
            <a:chExt cx="1038413" cy="2181264"/>
          </a:xfrm>
        </p:grpSpPr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DCEEBA74-EA3B-944E-84F2-CB2D1E337A17}"/>
                </a:ext>
              </a:extLst>
            </p:cNvPr>
            <p:cNvGrpSpPr/>
            <p:nvPr/>
          </p:nvGrpSpPr>
          <p:grpSpPr>
            <a:xfrm>
              <a:off x="1653122" y="3739052"/>
              <a:ext cx="1038413" cy="1980349"/>
              <a:chOff x="167706" y="2425288"/>
              <a:chExt cx="778810" cy="1485261"/>
            </a:xfrm>
          </p:grpSpPr>
          <p:sp>
            <p:nvSpPr>
              <p:cNvPr id="34" name="4 Rectángulo">
                <a:extLst>
                  <a:ext uri="{FF2B5EF4-FFF2-40B4-BE49-F238E27FC236}">
                    <a16:creationId xmlns:a16="http://schemas.microsoft.com/office/drawing/2014/main" id="{BE5741F7-5CDF-2348-B2CB-890BFC1E6899}"/>
                  </a:ext>
                </a:extLst>
              </p:cNvPr>
              <p:cNvSpPr/>
              <p:nvPr/>
            </p:nvSpPr>
            <p:spPr>
              <a:xfrm>
                <a:off x="167706" y="2871804"/>
                <a:ext cx="778810" cy="10387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Jquery</a:t>
                </a:r>
                <a:r>
                  <a:rPr lang="es-ES" sz="1200" dirty="0">
                    <a:solidFill>
                      <a:schemeClr val="bg1"/>
                    </a:solidFill>
                  </a:rPr>
                  <a:t> </a:t>
                </a:r>
                <a:br>
                  <a:rPr lang="es-ES" sz="1200" dirty="0">
                    <a:solidFill>
                      <a:schemeClr val="bg1"/>
                    </a:solidFill>
                  </a:rPr>
                </a:br>
                <a:r>
                  <a:rPr lang="es-ES" sz="1200" dirty="0">
                    <a:solidFill>
                      <a:schemeClr val="bg1"/>
                    </a:solidFill>
                  </a:rPr>
                  <a:t>Mobile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HTML5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Backbone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Angular JS 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CSS3</a:t>
                </a:r>
              </a:p>
            </p:txBody>
          </p:sp>
          <p:cxnSp>
            <p:nvCxnSpPr>
              <p:cNvPr id="35" name="Conector recto 34">
                <a:extLst>
                  <a:ext uri="{FF2B5EF4-FFF2-40B4-BE49-F238E27FC236}">
                    <a16:creationId xmlns:a16="http://schemas.microsoft.com/office/drawing/2014/main" id="{88B3264A-50C2-3C45-96A6-82CC3C9345D0}"/>
                  </a:ext>
                </a:extLst>
              </p:cNvPr>
              <p:cNvCxnSpPr/>
              <p:nvPr/>
            </p:nvCxnSpPr>
            <p:spPr>
              <a:xfrm>
                <a:off x="258013" y="2850152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ítulo 3">
                <a:extLst>
                  <a:ext uri="{FF2B5EF4-FFF2-40B4-BE49-F238E27FC236}">
                    <a16:creationId xmlns:a16="http://schemas.microsoft.com/office/drawing/2014/main" id="{1C77BA1F-ABD6-2249-833E-30CBC19245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7324" y="2425288"/>
                <a:ext cx="601169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0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581DEFEF-E804-9A43-B91D-F534F1EC6197}"/>
                </a:ext>
              </a:extLst>
            </p:cNvPr>
            <p:cNvSpPr/>
            <p:nvPr/>
          </p:nvSpPr>
          <p:spPr>
            <a:xfrm>
              <a:off x="1732613" y="3538137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31D167A4-1BAB-DC4E-AB61-85196961C095}"/>
              </a:ext>
            </a:extLst>
          </p:cNvPr>
          <p:cNvGrpSpPr/>
          <p:nvPr/>
        </p:nvGrpSpPr>
        <p:grpSpPr>
          <a:xfrm>
            <a:off x="1977798" y="2790918"/>
            <a:ext cx="1386018" cy="1233693"/>
            <a:chOff x="1653122" y="1328681"/>
            <a:chExt cx="1386018" cy="1233693"/>
          </a:xfrm>
        </p:grpSpPr>
        <p:grpSp>
          <p:nvGrpSpPr>
            <p:cNvPr id="39" name="Grupo 38">
              <a:extLst>
                <a:ext uri="{FF2B5EF4-FFF2-40B4-BE49-F238E27FC236}">
                  <a16:creationId xmlns:a16="http://schemas.microsoft.com/office/drawing/2014/main" id="{4D364351-34D3-9C40-836D-2360EAF57D9C}"/>
                </a:ext>
              </a:extLst>
            </p:cNvPr>
            <p:cNvGrpSpPr/>
            <p:nvPr/>
          </p:nvGrpSpPr>
          <p:grpSpPr>
            <a:xfrm>
              <a:off x="1653122" y="1328681"/>
              <a:ext cx="1386018" cy="1057020"/>
              <a:chOff x="167706" y="617510"/>
              <a:chExt cx="1039514" cy="792765"/>
            </a:xfrm>
          </p:grpSpPr>
          <p:sp>
            <p:nvSpPr>
              <p:cNvPr id="43" name="4 Rectángulo">
                <a:extLst>
                  <a:ext uri="{FF2B5EF4-FFF2-40B4-BE49-F238E27FC236}">
                    <a16:creationId xmlns:a16="http://schemas.microsoft.com/office/drawing/2014/main" id="{E9C7DCA1-5057-9440-BBFE-A0EB73745B77}"/>
                  </a:ext>
                </a:extLst>
              </p:cNvPr>
              <p:cNvSpPr/>
              <p:nvPr/>
            </p:nvSpPr>
            <p:spPr>
              <a:xfrm>
                <a:off x="167706" y="1064026"/>
                <a:ext cx="1039514" cy="3462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>
                    <a:solidFill>
                      <a:schemeClr val="bg1"/>
                    </a:solidFill>
                  </a:rPr>
                  <a:t>Se añaden </a:t>
                </a:r>
              </a:p>
              <a:p>
                <a:r>
                  <a:rPr lang="es-ES" sz="1200" dirty="0">
                    <a:solidFill>
                      <a:schemeClr val="bg1"/>
                    </a:solidFill>
                  </a:rPr>
                  <a:t>las tablas al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html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4" name="Conector recto 43">
                <a:extLst>
                  <a:ext uri="{FF2B5EF4-FFF2-40B4-BE49-F238E27FC236}">
                    <a16:creationId xmlns:a16="http://schemas.microsoft.com/office/drawing/2014/main" id="{91509EFC-80E0-8843-82A0-7DF620053085}"/>
                  </a:ext>
                </a:extLst>
              </p:cNvPr>
              <p:cNvCxnSpPr/>
              <p:nvPr/>
            </p:nvCxnSpPr>
            <p:spPr>
              <a:xfrm>
                <a:off x="258013" y="1042373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ítulo 3">
                <a:extLst>
                  <a:ext uri="{FF2B5EF4-FFF2-40B4-BE49-F238E27FC236}">
                    <a16:creationId xmlns:a16="http://schemas.microsoft.com/office/drawing/2014/main" id="{42822CCB-30D2-E840-A6CB-EDBD490D3B9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617510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1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7A36AD68-694D-6549-B3CE-22E6C444EBEE}"/>
                </a:ext>
              </a:extLst>
            </p:cNvPr>
            <p:cNvSpPr/>
            <p:nvPr/>
          </p:nvSpPr>
          <p:spPr>
            <a:xfrm>
              <a:off x="1732613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upo 50">
            <a:extLst>
              <a:ext uri="{FF2B5EF4-FFF2-40B4-BE49-F238E27FC236}">
                <a16:creationId xmlns:a16="http://schemas.microsoft.com/office/drawing/2014/main" id="{8E33D1BA-E5A2-A94D-97F7-C414895B9FE7}"/>
              </a:ext>
            </a:extLst>
          </p:cNvPr>
          <p:cNvGrpSpPr/>
          <p:nvPr/>
        </p:nvGrpSpPr>
        <p:grpSpPr>
          <a:xfrm>
            <a:off x="3243243" y="3867898"/>
            <a:ext cx="1570732" cy="1996599"/>
            <a:chOff x="1595233" y="2405661"/>
            <a:chExt cx="1570732" cy="1996599"/>
          </a:xfrm>
        </p:grpSpPr>
        <p:grpSp>
          <p:nvGrpSpPr>
            <p:cNvPr id="52" name="Grupo 51">
              <a:extLst>
                <a:ext uri="{FF2B5EF4-FFF2-40B4-BE49-F238E27FC236}">
                  <a16:creationId xmlns:a16="http://schemas.microsoft.com/office/drawing/2014/main" id="{B068EA3D-6DD4-6A47-A974-D85443658AC9}"/>
                </a:ext>
              </a:extLst>
            </p:cNvPr>
            <p:cNvGrpSpPr/>
            <p:nvPr/>
          </p:nvGrpSpPr>
          <p:grpSpPr>
            <a:xfrm>
              <a:off x="1595233" y="2606576"/>
              <a:ext cx="1570732" cy="1795684"/>
              <a:chOff x="124289" y="1575932"/>
              <a:chExt cx="1178049" cy="1346764"/>
            </a:xfrm>
          </p:grpSpPr>
          <p:sp>
            <p:nvSpPr>
              <p:cNvPr id="54" name="4 Rectángulo">
                <a:extLst>
                  <a:ext uri="{FF2B5EF4-FFF2-40B4-BE49-F238E27FC236}">
                    <a16:creationId xmlns:a16="http://schemas.microsoft.com/office/drawing/2014/main" id="{D1DC7099-913F-AF41-B2D6-8032D9DDAC31}"/>
                  </a:ext>
                </a:extLst>
              </p:cNvPr>
              <p:cNvSpPr/>
              <p:nvPr/>
            </p:nvSpPr>
            <p:spPr>
              <a:xfrm>
                <a:off x="124289" y="2022449"/>
                <a:ext cx="1178049" cy="9002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Ionic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React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Empaquetadores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Webpack</a:t>
                </a:r>
                <a:r>
                  <a:rPr lang="es-ES" sz="1200" dirty="0">
                    <a:solidFill>
                      <a:schemeClr val="bg1"/>
                    </a:solidFill>
                  </a:rPr>
                  <a:t>,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grunt</a:t>
                </a:r>
                <a:r>
                  <a:rPr lang="es-ES" sz="1200" dirty="0">
                    <a:solidFill>
                      <a:schemeClr val="bg1"/>
                    </a:solidFill>
                  </a:rPr>
                  <a:t>,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gulp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5" name="Conector recto 54">
                <a:extLst>
                  <a:ext uri="{FF2B5EF4-FFF2-40B4-BE49-F238E27FC236}">
                    <a16:creationId xmlns:a16="http://schemas.microsoft.com/office/drawing/2014/main" id="{0BBDFEA6-17D6-7646-A02C-B898FDB91294}"/>
                  </a:ext>
                </a:extLst>
              </p:cNvPr>
              <p:cNvCxnSpPr/>
              <p:nvPr/>
            </p:nvCxnSpPr>
            <p:spPr>
              <a:xfrm>
                <a:off x="258013" y="2000795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ítulo 3">
                <a:extLst>
                  <a:ext uri="{FF2B5EF4-FFF2-40B4-BE49-F238E27FC236}">
                    <a16:creationId xmlns:a16="http://schemas.microsoft.com/office/drawing/2014/main" id="{5295C984-927D-6D4D-A546-7D610D5C52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1575932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3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3" name="Elipse 52">
              <a:extLst>
                <a:ext uri="{FF2B5EF4-FFF2-40B4-BE49-F238E27FC236}">
                  <a16:creationId xmlns:a16="http://schemas.microsoft.com/office/drawing/2014/main" id="{FD01161F-7F44-9C4A-9BAD-4B0EB73509EC}"/>
                </a:ext>
              </a:extLst>
            </p:cNvPr>
            <p:cNvSpPr/>
            <p:nvPr/>
          </p:nvSpPr>
          <p:spPr>
            <a:xfrm>
              <a:off x="1732613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upo 56">
            <a:extLst>
              <a:ext uri="{FF2B5EF4-FFF2-40B4-BE49-F238E27FC236}">
                <a16:creationId xmlns:a16="http://schemas.microsoft.com/office/drawing/2014/main" id="{11F07E5A-9753-C242-985D-B2CE23C9E314}"/>
              </a:ext>
            </a:extLst>
          </p:cNvPr>
          <p:cNvGrpSpPr/>
          <p:nvPr/>
        </p:nvGrpSpPr>
        <p:grpSpPr>
          <a:xfrm>
            <a:off x="4377160" y="2864831"/>
            <a:ext cx="1570732" cy="1159780"/>
            <a:chOff x="1653122" y="1402594"/>
            <a:chExt cx="1570732" cy="1159780"/>
          </a:xfrm>
        </p:grpSpPr>
        <p:grpSp>
          <p:nvGrpSpPr>
            <p:cNvPr id="58" name="Grupo 57">
              <a:extLst>
                <a:ext uri="{FF2B5EF4-FFF2-40B4-BE49-F238E27FC236}">
                  <a16:creationId xmlns:a16="http://schemas.microsoft.com/office/drawing/2014/main" id="{10F1698A-F878-D542-9D33-4AF6390EDCE1}"/>
                </a:ext>
              </a:extLst>
            </p:cNvPr>
            <p:cNvGrpSpPr/>
            <p:nvPr/>
          </p:nvGrpSpPr>
          <p:grpSpPr>
            <a:xfrm>
              <a:off x="1653122" y="1402594"/>
              <a:ext cx="1570732" cy="872354"/>
              <a:chOff x="167706" y="672945"/>
              <a:chExt cx="1178049" cy="654266"/>
            </a:xfrm>
          </p:grpSpPr>
          <p:sp>
            <p:nvSpPr>
              <p:cNvPr id="62" name="4 Rectángulo">
                <a:extLst>
                  <a:ext uri="{FF2B5EF4-FFF2-40B4-BE49-F238E27FC236}">
                    <a16:creationId xmlns:a16="http://schemas.microsoft.com/office/drawing/2014/main" id="{B2B3D110-EA74-CD41-971B-C96D96C06400}"/>
                  </a:ext>
                </a:extLst>
              </p:cNvPr>
              <p:cNvSpPr/>
              <p:nvPr/>
            </p:nvSpPr>
            <p:spPr>
              <a:xfrm>
                <a:off x="167706" y="1119462"/>
                <a:ext cx="1178049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 err="1">
                    <a:solidFill>
                      <a:schemeClr val="bg1"/>
                    </a:solidFill>
                  </a:rPr>
                  <a:t>VueJs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63" name="Conector recto 62">
                <a:extLst>
                  <a:ext uri="{FF2B5EF4-FFF2-40B4-BE49-F238E27FC236}">
                    <a16:creationId xmlns:a16="http://schemas.microsoft.com/office/drawing/2014/main" id="{384008CC-14E9-A845-8F7A-52998D866260}"/>
                  </a:ext>
                </a:extLst>
              </p:cNvPr>
              <p:cNvCxnSpPr/>
              <p:nvPr/>
            </p:nvCxnSpPr>
            <p:spPr>
              <a:xfrm>
                <a:off x="258013" y="1097808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ítulo 3">
                <a:extLst>
                  <a:ext uri="{FF2B5EF4-FFF2-40B4-BE49-F238E27FC236}">
                    <a16:creationId xmlns:a16="http://schemas.microsoft.com/office/drawing/2014/main" id="{AC72F1A1-2EF3-2B47-BD78-4C6F49A58C6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672945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4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1" name="Elipse 60">
              <a:extLst>
                <a:ext uri="{FF2B5EF4-FFF2-40B4-BE49-F238E27FC236}">
                  <a16:creationId xmlns:a16="http://schemas.microsoft.com/office/drawing/2014/main" id="{81F2BA7C-F379-B949-862F-1D9D282FA464}"/>
                </a:ext>
              </a:extLst>
            </p:cNvPr>
            <p:cNvSpPr/>
            <p:nvPr/>
          </p:nvSpPr>
          <p:spPr>
            <a:xfrm>
              <a:off x="1732613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Grupo 64">
            <a:extLst>
              <a:ext uri="{FF2B5EF4-FFF2-40B4-BE49-F238E27FC236}">
                <a16:creationId xmlns:a16="http://schemas.microsoft.com/office/drawing/2014/main" id="{2D56E286-A898-504E-A2DD-30C4497F7BA1}"/>
              </a:ext>
            </a:extLst>
          </p:cNvPr>
          <p:cNvGrpSpPr/>
          <p:nvPr/>
        </p:nvGrpSpPr>
        <p:grpSpPr>
          <a:xfrm>
            <a:off x="5224470" y="3867898"/>
            <a:ext cx="1570732" cy="1636595"/>
            <a:chOff x="1590353" y="2405661"/>
            <a:chExt cx="1570732" cy="1636595"/>
          </a:xfrm>
        </p:grpSpPr>
        <p:grpSp>
          <p:nvGrpSpPr>
            <p:cNvPr id="66" name="Grupo 65">
              <a:extLst>
                <a:ext uri="{FF2B5EF4-FFF2-40B4-BE49-F238E27FC236}">
                  <a16:creationId xmlns:a16="http://schemas.microsoft.com/office/drawing/2014/main" id="{DB8973F0-8D4C-134D-9630-BBA32D05DA1E}"/>
                </a:ext>
              </a:extLst>
            </p:cNvPr>
            <p:cNvGrpSpPr/>
            <p:nvPr/>
          </p:nvGrpSpPr>
          <p:grpSpPr>
            <a:xfrm>
              <a:off x="1590353" y="2615901"/>
              <a:ext cx="1570732" cy="1426355"/>
              <a:chOff x="120629" y="1582924"/>
              <a:chExt cx="1178049" cy="1069766"/>
            </a:xfrm>
          </p:grpSpPr>
          <p:sp>
            <p:nvSpPr>
              <p:cNvPr id="68" name="4 Rectángulo">
                <a:extLst>
                  <a:ext uri="{FF2B5EF4-FFF2-40B4-BE49-F238E27FC236}">
                    <a16:creationId xmlns:a16="http://schemas.microsoft.com/office/drawing/2014/main" id="{A3AAD33D-D01F-344F-A614-5ABC63D4BD4B}"/>
                  </a:ext>
                </a:extLst>
              </p:cNvPr>
              <p:cNvSpPr/>
              <p:nvPr/>
            </p:nvSpPr>
            <p:spPr>
              <a:xfrm>
                <a:off x="120629" y="2029442"/>
                <a:ext cx="1178049" cy="6232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Angular 2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PWA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ES6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GraphQL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69" name="Conector recto 68">
                <a:extLst>
                  <a:ext uri="{FF2B5EF4-FFF2-40B4-BE49-F238E27FC236}">
                    <a16:creationId xmlns:a16="http://schemas.microsoft.com/office/drawing/2014/main" id="{F59B42C3-29B5-8942-94FF-5DE190DB8574}"/>
                  </a:ext>
                </a:extLst>
              </p:cNvPr>
              <p:cNvCxnSpPr/>
              <p:nvPr/>
            </p:nvCxnSpPr>
            <p:spPr>
              <a:xfrm>
                <a:off x="258013" y="2007788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ítulo 3">
                <a:extLst>
                  <a:ext uri="{FF2B5EF4-FFF2-40B4-BE49-F238E27FC236}">
                    <a16:creationId xmlns:a16="http://schemas.microsoft.com/office/drawing/2014/main" id="{531E68D0-6C55-8B4D-9BEC-86DB0719CF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1582924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5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7" name="Elipse 66">
              <a:extLst>
                <a:ext uri="{FF2B5EF4-FFF2-40B4-BE49-F238E27FC236}">
                  <a16:creationId xmlns:a16="http://schemas.microsoft.com/office/drawing/2014/main" id="{8A907623-DCFD-3847-B33D-4AA6CE038AB5}"/>
                </a:ext>
              </a:extLst>
            </p:cNvPr>
            <p:cNvSpPr/>
            <p:nvPr/>
          </p:nvSpPr>
          <p:spPr>
            <a:xfrm>
              <a:off x="1732613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1" name="Grupo 70">
            <a:extLst>
              <a:ext uri="{FF2B5EF4-FFF2-40B4-BE49-F238E27FC236}">
                <a16:creationId xmlns:a16="http://schemas.microsoft.com/office/drawing/2014/main" id="{7BF47C0A-F92B-7449-8F88-63E8B460ACCA}"/>
              </a:ext>
            </a:extLst>
          </p:cNvPr>
          <p:cNvGrpSpPr/>
          <p:nvPr/>
        </p:nvGrpSpPr>
        <p:grpSpPr>
          <a:xfrm>
            <a:off x="6217860" y="2874882"/>
            <a:ext cx="1570732" cy="1149729"/>
            <a:chOff x="1687914" y="1412645"/>
            <a:chExt cx="1570732" cy="1149729"/>
          </a:xfrm>
        </p:grpSpPr>
        <p:grpSp>
          <p:nvGrpSpPr>
            <p:cNvPr id="72" name="Grupo 71">
              <a:extLst>
                <a:ext uri="{FF2B5EF4-FFF2-40B4-BE49-F238E27FC236}">
                  <a16:creationId xmlns:a16="http://schemas.microsoft.com/office/drawing/2014/main" id="{B39FDC2C-44CC-F34D-AFCE-E88405CFB375}"/>
                </a:ext>
              </a:extLst>
            </p:cNvPr>
            <p:cNvGrpSpPr/>
            <p:nvPr/>
          </p:nvGrpSpPr>
          <p:grpSpPr>
            <a:xfrm>
              <a:off x="1687914" y="1412645"/>
              <a:ext cx="1570732" cy="872357"/>
              <a:chOff x="193800" y="680481"/>
              <a:chExt cx="1178049" cy="654267"/>
            </a:xfrm>
          </p:grpSpPr>
          <p:sp>
            <p:nvSpPr>
              <p:cNvPr id="74" name="4 Rectángulo">
                <a:extLst>
                  <a:ext uri="{FF2B5EF4-FFF2-40B4-BE49-F238E27FC236}">
                    <a16:creationId xmlns:a16="http://schemas.microsoft.com/office/drawing/2014/main" id="{28ADB333-5D17-0C4D-AD27-C2014F27F794}"/>
                  </a:ext>
                </a:extLst>
              </p:cNvPr>
              <p:cNvSpPr/>
              <p:nvPr/>
            </p:nvSpPr>
            <p:spPr>
              <a:xfrm>
                <a:off x="193800" y="1126999"/>
                <a:ext cx="1178049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 err="1">
                    <a:solidFill>
                      <a:schemeClr val="bg1"/>
                    </a:solidFill>
                  </a:rPr>
                  <a:t>Webassembly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75" name="Conector recto 74">
                <a:extLst>
                  <a:ext uri="{FF2B5EF4-FFF2-40B4-BE49-F238E27FC236}">
                    <a16:creationId xmlns:a16="http://schemas.microsoft.com/office/drawing/2014/main" id="{4B1B400B-EA7E-284E-9EE2-DE1C874B991D}"/>
                  </a:ext>
                </a:extLst>
              </p:cNvPr>
              <p:cNvCxnSpPr/>
              <p:nvPr/>
            </p:nvCxnSpPr>
            <p:spPr>
              <a:xfrm>
                <a:off x="258013" y="1105345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Título 3">
                <a:extLst>
                  <a:ext uri="{FF2B5EF4-FFF2-40B4-BE49-F238E27FC236}">
                    <a16:creationId xmlns:a16="http://schemas.microsoft.com/office/drawing/2014/main" id="{37A4ADB4-AB57-4249-B893-179B8EB9D6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680481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6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3" name="Elipse 72">
              <a:extLst>
                <a:ext uri="{FF2B5EF4-FFF2-40B4-BE49-F238E27FC236}">
                  <a16:creationId xmlns:a16="http://schemas.microsoft.com/office/drawing/2014/main" id="{8E5B1EBE-D75B-3E4C-810D-C2B484738025}"/>
                </a:ext>
              </a:extLst>
            </p:cNvPr>
            <p:cNvSpPr/>
            <p:nvPr/>
          </p:nvSpPr>
          <p:spPr>
            <a:xfrm>
              <a:off x="1732613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upo 76">
            <a:extLst>
              <a:ext uri="{FF2B5EF4-FFF2-40B4-BE49-F238E27FC236}">
                <a16:creationId xmlns:a16="http://schemas.microsoft.com/office/drawing/2014/main" id="{C148953E-8E4D-884E-B68C-1123C81D8D74}"/>
              </a:ext>
            </a:extLst>
          </p:cNvPr>
          <p:cNvGrpSpPr/>
          <p:nvPr/>
        </p:nvGrpSpPr>
        <p:grpSpPr>
          <a:xfrm>
            <a:off x="7487239" y="3867898"/>
            <a:ext cx="915981" cy="1128363"/>
            <a:chOff x="1687914" y="2405661"/>
            <a:chExt cx="915981" cy="1128363"/>
          </a:xfrm>
        </p:grpSpPr>
        <p:grpSp>
          <p:nvGrpSpPr>
            <p:cNvPr id="78" name="Grupo 77">
              <a:extLst>
                <a:ext uri="{FF2B5EF4-FFF2-40B4-BE49-F238E27FC236}">
                  <a16:creationId xmlns:a16="http://schemas.microsoft.com/office/drawing/2014/main" id="{B6E5732C-C50E-A34F-9D0F-312C72BA4A40}"/>
                </a:ext>
              </a:extLst>
            </p:cNvPr>
            <p:cNvGrpSpPr/>
            <p:nvPr/>
          </p:nvGrpSpPr>
          <p:grpSpPr>
            <a:xfrm>
              <a:off x="1687914" y="2661666"/>
              <a:ext cx="915981" cy="872358"/>
              <a:chOff x="193800" y="1617246"/>
              <a:chExt cx="686986" cy="654268"/>
            </a:xfrm>
          </p:grpSpPr>
          <p:sp>
            <p:nvSpPr>
              <p:cNvPr id="80" name="4 Rectángulo">
                <a:extLst>
                  <a:ext uri="{FF2B5EF4-FFF2-40B4-BE49-F238E27FC236}">
                    <a16:creationId xmlns:a16="http://schemas.microsoft.com/office/drawing/2014/main" id="{59FDA924-E35C-9E41-9B86-1226DE444AF4}"/>
                  </a:ext>
                </a:extLst>
              </p:cNvPr>
              <p:cNvSpPr/>
              <p:nvPr/>
            </p:nvSpPr>
            <p:spPr>
              <a:xfrm>
                <a:off x="193800" y="2063765"/>
                <a:ext cx="608842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 err="1">
                    <a:solidFill>
                      <a:schemeClr val="bg1"/>
                    </a:solidFill>
                  </a:rPr>
                  <a:t>JAMStack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81" name="Conector recto 80">
                <a:extLst>
                  <a:ext uri="{FF2B5EF4-FFF2-40B4-BE49-F238E27FC236}">
                    <a16:creationId xmlns:a16="http://schemas.microsoft.com/office/drawing/2014/main" id="{D24BEC68-BD6B-F642-9103-76270C0DA7FB}"/>
                  </a:ext>
                </a:extLst>
              </p:cNvPr>
              <p:cNvCxnSpPr/>
              <p:nvPr/>
            </p:nvCxnSpPr>
            <p:spPr>
              <a:xfrm>
                <a:off x="258013" y="2042110"/>
                <a:ext cx="22499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Título 3">
                <a:extLst>
                  <a:ext uri="{FF2B5EF4-FFF2-40B4-BE49-F238E27FC236}">
                    <a16:creationId xmlns:a16="http://schemas.microsoft.com/office/drawing/2014/main" id="{7EA64FDB-445A-2348-B2A3-5FBF067868F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1617246"/>
                <a:ext cx="619544" cy="38354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7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9" name="Elipse 78">
              <a:extLst>
                <a:ext uri="{FF2B5EF4-FFF2-40B4-BE49-F238E27FC236}">
                  <a16:creationId xmlns:a16="http://schemas.microsoft.com/office/drawing/2014/main" id="{E0370F69-2B35-174C-9E92-FDB1ADBB9FDC}"/>
                </a:ext>
              </a:extLst>
            </p:cNvPr>
            <p:cNvSpPr/>
            <p:nvPr/>
          </p:nvSpPr>
          <p:spPr>
            <a:xfrm>
              <a:off x="1773531" y="240566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203597F7-D831-754D-B555-69A97B8D354A}"/>
              </a:ext>
            </a:extLst>
          </p:cNvPr>
          <p:cNvGrpSpPr/>
          <p:nvPr/>
        </p:nvGrpSpPr>
        <p:grpSpPr>
          <a:xfrm>
            <a:off x="8437060" y="2947999"/>
            <a:ext cx="1106070" cy="1228657"/>
            <a:chOff x="8437060" y="2947999"/>
            <a:chExt cx="1106070" cy="1228657"/>
          </a:xfrm>
        </p:grpSpPr>
        <p:sp>
          <p:nvSpPr>
            <p:cNvPr id="83" name="Título 3">
              <a:extLst>
                <a:ext uri="{FF2B5EF4-FFF2-40B4-BE49-F238E27FC236}">
                  <a16:creationId xmlns:a16="http://schemas.microsoft.com/office/drawing/2014/main" id="{CF949282-37B6-2F43-8EA9-08A753DC9A74}"/>
                </a:ext>
              </a:extLst>
            </p:cNvPr>
            <p:cNvSpPr txBox="1">
              <a:spLocks/>
            </p:cNvSpPr>
            <p:nvPr/>
          </p:nvSpPr>
          <p:spPr>
            <a:xfrm>
              <a:off x="8437060" y="2947999"/>
              <a:ext cx="1106070" cy="511392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Playfair Display" pitchFamily="2" charset="77"/>
                  <a:ea typeface="+mj-ea"/>
                  <a:cs typeface="+mj-cs"/>
                </a:defRPr>
              </a:lvl1pPr>
            </a:lstStyle>
            <a:p>
              <a:r>
                <a:rPr lang="es-ES" sz="3600" dirty="0">
                  <a:solidFill>
                    <a:schemeClr val="bg1"/>
                  </a:solidFill>
                </a:rPr>
                <a:t>2020</a:t>
              </a:r>
              <a:endParaRPr lang="es-ES" dirty="0">
                <a:solidFill>
                  <a:schemeClr val="bg1"/>
                </a:solidFill>
              </a:endParaRPr>
            </a:p>
          </p:txBody>
        </p:sp>
        <p:sp>
          <p:nvSpPr>
            <p:cNvPr id="85" name="Elipse 84">
              <a:extLst>
                <a:ext uri="{FF2B5EF4-FFF2-40B4-BE49-F238E27FC236}">
                  <a16:creationId xmlns:a16="http://schemas.microsoft.com/office/drawing/2014/main" id="{57BB7FB2-AA3A-5F4E-B5B9-A5C7C3C25000}"/>
                </a:ext>
              </a:extLst>
            </p:cNvPr>
            <p:cNvSpPr/>
            <p:nvPr/>
          </p:nvSpPr>
          <p:spPr>
            <a:xfrm>
              <a:off x="8674842" y="3727294"/>
              <a:ext cx="449362" cy="44936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902283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7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5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7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7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25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orma libre 42">
            <a:extLst>
              <a:ext uri="{FF2B5EF4-FFF2-40B4-BE49-F238E27FC236}">
                <a16:creationId xmlns:a16="http://schemas.microsoft.com/office/drawing/2014/main" id="{6707A2F4-30E4-7142-BCB4-34596251765C}"/>
              </a:ext>
            </a:extLst>
          </p:cNvPr>
          <p:cNvSpPr/>
          <p:nvPr/>
        </p:nvSpPr>
        <p:spPr>
          <a:xfrm flipH="1">
            <a:off x="6496875" y="1268760"/>
            <a:ext cx="5975952" cy="6642341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  <a:gd name="connsiteX0" fmla="*/ 0 w 11069052"/>
              <a:gd name="connsiteY0" fmla="*/ 3176337 h 7483642"/>
              <a:gd name="connsiteX1" fmla="*/ 4250359 w 11069052"/>
              <a:gd name="connsiteY1" fmla="*/ 1943165 h 7483642"/>
              <a:gd name="connsiteX2" fmla="*/ 11069052 w 11069052"/>
              <a:gd name="connsiteY2" fmla="*/ 0 h 7483642"/>
              <a:gd name="connsiteX3" fmla="*/ 11069052 w 11069052"/>
              <a:gd name="connsiteY3" fmla="*/ 7483642 h 7483642"/>
              <a:gd name="connsiteX4" fmla="*/ 10804358 w 11069052"/>
              <a:gd name="connsiteY4" fmla="*/ 7483642 h 7483642"/>
              <a:gd name="connsiteX5" fmla="*/ 0 w 11069052"/>
              <a:gd name="connsiteY5" fmla="*/ 7483642 h 7483642"/>
              <a:gd name="connsiteX6" fmla="*/ 0 w 11069052"/>
              <a:gd name="connsiteY6" fmla="*/ 3176337 h 7483642"/>
              <a:gd name="connsiteX0" fmla="*/ 0 w 11069052"/>
              <a:gd name="connsiteY0" fmla="*/ 3176337 h 7499717"/>
              <a:gd name="connsiteX1" fmla="*/ 4250359 w 11069052"/>
              <a:gd name="connsiteY1" fmla="*/ 1943165 h 7499717"/>
              <a:gd name="connsiteX2" fmla="*/ 11069052 w 11069052"/>
              <a:gd name="connsiteY2" fmla="*/ 0 h 7499717"/>
              <a:gd name="connsiteX3" fmla="*/ 11069052 w 11069052"/>
              <a:gd name="connsiteY3" fmla="*/ 7483642 h 7499717"/>
              <a:gd name="connsiteX4" fmla="*/ 10804358 w 11069052"/>
              <a:gd name="connsiteY4" fmla="*/ 7483642 h 7499717"/>
              <a:gd name="connsiteX5" fmla="*/ 4285528 w 11069052"/>
              <a:gd name="connsiteY5" fmla="*/ 7499717 h 7499717"/>
              <a:gd name="connsiteX6" fmla="*/ 0 w 11069052"/>
              <a:gd name="connsiteY6" fmla="*/ 7483642 h 7499717"/>
              <a:gd name="connsiteX7" fmla="*/ 0 w 11069052"/>
              <a:gd name="connsiteY7" fmla="*/ 3176337 h 7499717"/>
              <a:gd name="connsiteX0" fmla="*/ 0 w 11069052"/>
              <a:gd name="connsiteY0" fmla="*/ 3176337 h 7499717"/>
              <a:gd name="connsiteX1" fmla="*/ 4250359 w 11069052"/>
              <a:gd name="connsiteY1" fmla="*/ 1943165 h 7499717"/>
              <a:gd name="connsiteX2" fmla="*/ 11069052 w 11069052"/>
              <a:gd name="connsiteY2" fmla="*/ 0 h 7499717"/>
              <a:gd name="connsiteX3" fmla="*/ 11069052 w 11069052"/>
              <a:gd name="connsiteY3" fmla="*/ 7483642 h 7499717"/>
              <a:gd name="connsiteX4" fmla="*/ 10804358 w 11069052"/>
              <a:gd name="connsiteY4" fmla="*/ 7483642 h 7499717"/>
              <a:gd name="connsiteX5" fmla="*/ 4285528 w 11069052"/>
              <a:gd name="connsiteY5" fmla="*/ 7499717 h 7499717"/>
              <a:gd name="connsiteX6" fmla="*/ 0 w 11069052"/>
              <a:gd name="connsiteY6" fmla="*/ 3176337 h 7499717"/>
              <a:gd name="connsiteX0" fmla="*/ 35169 w 6818693"/>
              <a:gd name="connsiteY0" fmla="*/ 7499717 h 7499717"/>
              <a:gd name="connsiteX1" fmla="*/ 0 w 6818693"/>
              <a:gd name="connsiteY1" fmla="*/ 1943165 h 7499717"/>
              <a:gd name="connsiteX2" fmla="*/ 6818693 w 6818693"/>
              <a:gd name="connsiteY2" fmla="*/ 0 h 7499717"/>
              <a:gd name="connsiteX3" fmla="*/ 6818693 w 6818693"/>
              <a:gd name="connsiteY3" fmla="*/ 7483642 h 7499717"/>
              <a:gd name="connsiteX4" fmla="*/ 6553999 w 6818693"/>
              <a:gd name="connsiteY4" fmla="*/ 7483642 h 7499717"/>
              <a:gd name="connsiteX5" fmla="*/ 35169 w 6818693"/>
              <a:gd name="connsiteY5" fmla="*/ 7499717 h 7499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18693" h="7499717">
                <a:moveTo>
                  <a:pt x="35169" y="7499717"/>
                </a:moveTo>
                <a:lnTo>
                  <a:pt x="0" y="1943165"/>
                </a:lnTo>
                <a:lnTo>
                  <a:pt x="6818693" y="0"/>
                </a:lnTo>
                <a:lnTo>
                  <a:pt x="6818693" y="7483642"/>
                </a:lnTo>
                <a:lnTo>
                  <a:pt x="6553999" y="7483642"/>
                </a:lnTo>
                <a:lnTo>
                  <a:pt x="35169" y="749971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31" name="Forma libre 30">
            <a:extLst>
              <a:ext uri="{FF2B5EF4-FFF2-40B4-BE49-F238E27FC236}">
                <a16:creationId xmlns:a16="http://schemas.microsoft.com/office/drawing/2014/main" id="{514E1C5A-FFFB-E343-914B-27E289F86554}"/>
              </a:ext>
            </a:extLst>
          </p:cNvPr>
          <p:cNvSpPr/>
          <p:nvPr/>
        </p:nvSpPr>
        <p:spPr>
          <a:xfrm flipH="1">
            <a:off x="-567342" y="708307"/>
            <a:ext cx="7580981" cy="6247413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  <a:gd name="connsiteX0" fmla="*/ 0 w 11069052"/>
              <a:gd name="connsiteY0" fmla="*/ 3176337 h 7483979"/>
              <a:gd name="connsiteX1" fmla="*/ 11069052 w 11069052"/>
              <a:gd name="connsiteY1" fmla="*/ 0 h 7483979"/>
              <a:gd name="connsiteX2" fmla="*/ 11069052 w 11069052"/>
              <a:gd name="connsiteY2" fmla="*/ 7483642 h 7483979"/>
              <a:gd name="connsiteX3" fmla="*/ 10804358 w 11069052"/>
              <a:gd name="connsiteY3" fmla="*/ 7483642 h 7483979"/>
              <a:gd name="connsiteX4" fmla="*/ 8035891 w 11069052"/>
              <a:gd name="connsiteY4" fmla="*/ 7483979 h 7483979"/>
              <a:gd name="connsiteX5" fmla="*/ 0 w 11069052"/>
              <a:gd name="connsiteY5" fmla="*/ 7483642 h 7483979"/>
              <a:gd name="connsiteX6" fmla="*/ 0 w 11069052"/>
              <a:gd name="connsiteY6" fmla="*/ 3176337 h 7483979"/>
              <a:gd name="connsiteX0" fmla="*/ 0 w 11069052"/>
              <a:gd name="connsiteY0" fmla="*/ 3176337 h 7483979"/>
              <a:gd name="connsiteX1" fmla="*/ 7825484 w 11069052"/>
              <a:gd name="connsiteY1" fmla="*/ 931004 h 7483979"/>
              <a:gd name="connsiteX2" fmla="*/ 11069052 w 11069052"/>
              <a:gd name="connsiteY2" fmla="*/ 0 h 7483979"/>
              <a:gd name="connsiteX3" fmla="*/ 11069052 w 11069052"/>
              <a:gd name="connsiteY3" fmla="*/ 7483642 h 7483979"/>
              <a:gd name="connsiteX4" fmla="*/ 10804358 w 11069052"/>
              <a:gd name="connsiteY4" fmla="*/ 7483642 h 7483979"/>
              <a:gd name="connsiteX5" fmla="*/ 8035891 w 11069052"/>
              <a:gd name="connsiteY5" fmla="*/ 7483979 h 7483979"/>
              <a:gd name="connsiteX6" fmla="*/ 0 w 11069052"/>
              <a:gd name="connsiteY6" fmla="*/ 7483642 h 7483979"/>
              <a:gd name="connsiteX7" fmla="*/ 0 w 11069052"/>
              <a:gd name="connsiteY7" fmla="*/ 3176337 h 7483979"/>
              <a:gd name="connsiteX0" fmla="*/ 0 w 11069052"/>
              <a:gd name="connsiteY0" fmla="*/ 2245333 h 6552975"/>
              <a:gd name="connsiteX1" fmla="*/ 7825484 w 11069052"/>
              <a:gd name="connsiteY1" fmla="*/ 0 h 6552975"/>
              <a:gd name="connsiteX2" fmla="*/ 11069052 w 11069052"/>
              <a:gd name="connsiteY2" fmla="*/ 6552638 h 6552975"/>
              <a:gd name="connsiteX3" fmla="*/ 10804358 w 11069052"/>
              <a:gd name="connsiteY3" fmla="*/ 6552638 h 6552975"/>
              <a:gd name="connsiteX4" fmla="*/ 8035891 w 11069052"/>
              <a:gd name="connsiteY4" fmla="*/ 6552975 h 6552975"/>
              <a:gd name="connsiteX5" fmla="*/ 0 w 11069052"/>
              <a:gd name="connsiteY5" fmla="*/ 6552638 h 6552975"/>
              <a:gd name="connsiteX6" fmla="*/ 0 w 11069052"/>
              <a:gd name="connsiteY6" fmla="*/ 2245333 h 6552975"/>
              <a:gd name="connsiteX0" fmla="*/ 0 w 10804358"/>
              <a:gd name="connsiteY0" fmla="*/ 2245333 h 6552975"/>
              <a:gd name="connsiteX1" fmla="*/ 7825484 w 10804358"/>
              <a:gd name="connsiteY1" fmla="*/ 0 h 6552975"/>
              <a:gd name="connsiteX2" fmla="*/ 10804358 w 10804358"/>
              <a:gd name="connsiteY2" fmla="*/ 6552638 h 6552975"/>
              <a:gd name="connsiteX3" fmla="*/ 8035891 w 10804358"/>
              <a:gd name="connsiteY3" fmla="*/ 6552975 h 6552975"/>
              <a:gd name="connsiteX4" fmla="*/ 0 w 10804358"/>
              <a:gd name="connsiteY4" fmla="*/ 6552638 h 6552975"/>
              <a:gd name="connsiteX5" fmla="*/ 0 w 10804358"/>
              <a:gd name="connsiteY5" fmla="*/ 2245333 h 6552975"/>
              <a:gd name="connsiteX0" fmla="*/ 0 w 8035891"/>
              <a:gd name="connsiteY0" fmla="*/ 2245333 h 6552975"/>
              <a:gd name="connsiteX1" fmla="*/ 7825484 w 8035891"/>
              <a:gd name="connsiteY1" fmla="*/ 0 h 6552975"/>
              <a:gd name="connsiteX2" fmla="*/ 8035891 w 8035891"/>
              <a:gd name="connsiteY2" fmla="*/ 6552975 h 6552975"/>
              <a:gd name="connsiteX3" fmla="*/ 0 w 8035891"/>
              <a:gd name="connsiteY3" fmla="*/ 6552638 h 6552975"/>
              <a:gd name="connsiteX4" fmla="*/ 0 w 8035891"/>
              <a:gd name="connsiteY4" fmla="*/ 2245333 h 655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35891" h="6552975">
                <a:moveTo>
                  <a:pt x="0" y="2245333"/>
                </a:moveTo>
                <a:lnTo>
                  <a:pt x="7825484" y="0"/>
                </a:lnTo>
                <a:lnTo>
                  <a:pt x="8035891" y="6552975"/>
                </a:lnTo>
                <a:lnTo>
                  <a:pt x="0" y="6552638"/>
                </a:lnTo>
                <a:lnTo>
                  <a:pt x="0" y="224533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0CEEBC7F-3851-6F4B-9505-740D6D74960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97" t="12020" r="13305"/>
          <a:stretch/>
        </p:blipFill>
        <p:spPr>
          <a:xfrm>
            <a:off x="888470" y="3963060"/>
            <a:ext cx="4076098" cy="2984772"/>
          </a:xfrm>
          <a:prstGeom prst="rect">
            <a:avLst/>
          </a:prstGeom>
        </p:spPr>
      </p:pic>
      <p:grpSp>
        <p:nvGrpSpPr>
          <p:cNvPr id="8" name="Grupo 7">
            <a:extLst>
              <a:ext uri="{FF2B5EF4-FFF2-40B4-BE49-F238E27FC236}">
                <a16:creationId xmlns:a16="http://schemas.microsoft.com/office/drawing/2014/main" id="{26881D0C-0CDA-D645-9F21-7900F6681EBE}"/>
              </a:ext>
            </a:extLst>
          </p:cNvPr>
          <p:cNvGrpSpPr/>
          <p:nvPr/>
        </p:nvGrpSpPr>
        <p:grpSpPr>
          <a:xfrm>
            <a:off x="602064" y="3723280"/>
            <a:ext cx="12174552" cy="453376"/>
            <a:chOff x="4537695" y="4112522"/>
            <a:chExt cx="9130913" cy="340032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FCA2B901-6653-4F4C-96DC-D4BFC2175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7695" y="4112522"/>
              <a:ext cx="340032" cy="340032"/>
            </a:xfrm>
            <a:prstGeom prst="rect">
              <a:avLst/>
            </a:prstGeom>
          </p:spPr>
        </p:pic>
        <p:cxnSp>
          <p:nvCxnSpPr>
            <p:cNvPr id="13" name="Conector recto 12">
              <a:extLst>
                <a:ext uri="{FF2B5EF4-FFF2-40B4-BE49-F238E27FC236}">
                  <a16:creationId xmlns:a16="http://schemas.microsoft.com/office/drawing/2014/main" id="{0CA12346-5655-874F-A931-043D885E1975}"/>
                </a:ext>
              </a:extLst>
            </p:cNvPr>
            <p:cNvCxnSpPr>
              <a:cxnSpLocks/>
              <a:stCxn id="3" idx="3"/>
            </p:cNvCxnSpPr>
            <p:nvPr/>
          </p:nvCxnSpPr>
          <p:spPr>
            <a:xfrm>
              <a:off x="4877728" y="4282538"/>
              <a:ext cx="879088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o 55">
            <a:extLst>
              <a:ext uri="{FF2B5EF4-FFF2-40B4-BE49-F238E27FC236}">
                <a16:creationId xmlns:a16="http://schemas.microsoft.com/office/drawing/2014/main" id="{D4304AFE-9D62-0745-84BD-BB3D2891ED7E}"/>
              </a:ext>
            </a:extLst>
          </p:cNvPr>
          <p:cNvGrpSpPr/>
          <p:nvPr/>
        </p:nvGrpSpPr>
        <p:grpSpPr>
          <a:xfrm>
            <a:off x="2249387" y="2636912"/>
            <a:ext cx="2620352" cy="1390822"/>
            <a:chOff x="1679134" y="2636912"/>
            <a:chExt cx="2620352" cy="1390822"/>
          </a:xfrm>
        </p:grpSpPr>
        <p:grpSp>
          <p:nvGrpSpPr>
            <p:cNvPr id="19" name="Grupo 18">
              <a:extLst>
                <a:ext uri="{FF2B5EF4-FFF2-40B4-BE49-F238E27FC236}">
                  <a16:creationId xmlns:a16="http://schemas.microsoft.com/office/drawing/2014/main" id="{64FB47B3-F660-4F4B-8252-4BA778EE5B0E}"/>
                </a:ext>
              </a:extLst>
            </p:cNvPr>
            <p:cNvGrpSpPr/>
            <p:nvPr/>
          </p:nvGrpSpPr>
          <p:grpSpPr>
            <a:xfrm>
              <a:off x="1679134" y="2636912"/>
              <a:ext cx="2620352" cy="1094527"/>
              <a:chOff x="187215" y="1598683"/>
              <a:chExt cx="1965264" cy="820895"/>
            </a:xfrm>
          </p:grpSpPr>
          <p:sp>
            <p:nvSpPr>
              <p:cNvPr id="20" name="4 Rectángulo">
                <a:extLst>
                  <a:ext uri="{FF2B5EF4-FFF2-40B4-BE49-F238E27FC236}">
                    <a16:creationId xmlns:a16="http://schemas.microsoft.com/office/drawing/2014/main" id="{DA258950-6D57-2843-AB3B-EC54307AEB0C}"/>
                  </a:ext>
                </a:extLst>
              </p:cNvPr>
              <p:cNvSpPr/>
              <p:nvPr/>
            </p:nvSpPr>
            <p:spPr>
              <a:xfrm>
                <a:off x="187215" y="2073329"/>
                <a:ext cx="1965264" cy="3462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200" dirty="0" err="1"/>
                  <a:t>Javascript</a:t>
                </a:r>
                <a:r>
                  <a:rPr lang="es-ES" sz="1200" dirty="0"/>
                  <a:t> </a:t>
                </a:r>
                <a:r>
                  <a:rPr lang="es-ES" sz="1200" dirty="0" err="1"/>
                  <a:t>div´s</a:t>
                </a:r>
                <a:r>
                  <a:rPr lang="es-ES" sz="1200" dirty="0"/>
                  <a:t> </a:t>
                </a:r>
              </a:p>
              <a:p>
                <a:r>
                  <a:rPr lang="es-ES" sz="1200" dirty="0"/>
                  <a:t>al HTML Ajax</a:t>
                </a:r>
              </a:p>
            </p:txBody>
          </p:sp>
          <p:cxnSp>
            <p:nvCxnSpPr>
              <p:cNvPr id="21" name="Conector recto 20">
                <a:extLst>
                  <a:ext uri="{FF2B5EF4-FFF2-40B4-BE49-F238E27FC236}">
                    <a16:creationId xmlns:a16="http://schemas.microsoft.com/office/drawing/2014/main" id="{BD0E9F04-3DEC-B64D-905E-DC80C535AF0E}"/>
                  </a:ext>
                </a:extLst>
              </p:cNvPr>
              <p:cNvCxnSpPr/>
              <p:nvPr/>
            </p:nvCxnSpPr>
            <p:spPr>
              <a:xfrm>
                <a:off x="258013" y="2023548"/>
                <a:ext cx="22499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ítulo 3">
                <a:extLst>
                  <a:ext uri="{FF2B5EF4-FFF2-40B4-BE49-F238E27FC236}">
                    <a16:creationId xmlns:a16="http://schemas.microsoft.com/office/drawing/2014/main" id="{C9472640-E5B0-4E42-9BA9-F28A37AEDE6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1242" y="1598683"/>
                <a:ext cx="1476791" cy="429170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/>
                  <a:t>2001</a:t>
                </a:r>
                <a:endParaRPr lang="es-ES" sz="2133" dirty="0"/>
              </a:p>
            </p:txBody>
          </p:sp>
        </p:grp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833CFDA9-B552-D549-B2AA-AC2DE267D65B}"/>
                </a:ext>
              </a:extLst>
            </p:cNvPr>
            <p:cNvSpPr/>
            <p:nvPr/>
          </p:nvSpPr>
          <p:spPr>
            <a:xfrm>
              <a:off x="1690815" y="387102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/>
            </a:p>
          </p:txBody>
        </p:sp>
      </p:grpSp>
      <p:grpSp>
        <p:nvGrpSpPr>
          <p:cNvPr id="55" name="Grupo 54">
            <a:extLst>
              <a:ext uri="{FF2B5EF4-FFF2-40B4-BE49-F238E27FC236}">
                <a16:creationId xmlns:a16="http://schemas.microsoft.com/office/drawing/2014/main" id="{247FC79B-EE37-BF43-9452-AF08306E3E57}"/>
              </a:ext>
            </a:extLst>
          </p:cNvPr>
          <p:cNvGrpSpPr/>
          <p:nvPr/>
        </p:nvGrpSpPr>
        <p:grpSpPr>
          <a:xfrm>
            <a:off x="4771678" y="2636912"/>
            <a:ext cx="1102184" cy="1368152"/>
            <a:chOff x="5173725" y="2768162"/>
            <a:chExt cx="1102184" cy="1368152"/>
          </a:xfrm>
        </p:grpSpPr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03986BF5-4B50-704B-854D-F1B3A8E4AF6E}"/>
                </a:ext>
              </a:extLst>
            </p:cNvPr>
            <p:cNvGrpSpPr/>
            <p:nvPr/>
          </p:nvGrpSpPr>
          <p:grpSpPr>
            <a:xfrm>
              <a:off x="5173725" y="2768162"/>
              <a:ext cx="1102184" cy="1143369"/>
              <a:chOff x="5868144" y="1828465"/>
              <a:chExt cx="826638" cy="857527"/>
            </a:xfrm>
          </p:grpSpPr>
          <p:sp>
            <p:nvSpPr>
              <p:cNvPr id="25" name="Título 3">
                <a:extLst>
                  <a:ext uri="{FF2B5EF4-FFF2-40B4-BE49-F238E27FC236}">
                    <a16:creationId xmlns:a16="http://schemas.microsoft.com/office/drawing/2014/main" id="{399C3DFE-D5E3-1448-B4E2-9BD7E1DC538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50969" y="1828465"/>
                <a:ext cx="743813" cy="429170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/>
                  <a:t>2009</a:t>
                </a:r>
                <a:endParaRPr lang="es-ES" sz="2133" dirty="0"/>
              </a:p>
            </p:txBody>
          </p:sp>
          <p:sp>
            <p:nvSpPr>
              <p:cNvPr id="26" name="4 Rectángulo">
                <a:extLst>
                  <a:ext uri="{FF2B5EF4-FFF2-40B4-BE49-F238E27FC236}">
                    <a16:creationId xmlns:a16="http://schemas.microsoft.com/office/drawing/2014/main" id="{B36A2F37-3151-3941-B4D9-DC0CADEDA975}"/>
                  </a:ext>
                </a:extLst>
              </p:cNvPr>
              <p:cNvSpPr/>
              <p:nvPr/>
            </p:nvSpPr>
            <p:spPr>
              <a:xfrm>
                <a:off x="5868144" y="2259576"/>
                <a:ext cx="826638" cy="4264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  <a:spcAft>
                    <a:spcPts val="400"/>
                  </a:spcAft>
                </a:pPr>
                <a:r>
                  <a:rPr lang="es-ES" sz="1200" dirty="0" err="1"/>
                  <a:t>Jquery</a:t>
                </a:r>
                <a:endParaRPr lang="es-ES" sz="1200" dirty="0"/>
              </a:p>
              <a:p>
                <a:pPr>
                  <a:lnSpc>
                    <a:spcPct val="120000"/>
                  </a:lnSpc>
                  <a:spcAft>
                    <a:spcPts val="400"/>
                  </a:spcAft>
                </a:pPr>
                <a:r>
                  <a:rPr lang="es-ES" sz="1200" spc="-40" dirty="0">
                    <a:latin typeface="Soho Gothic Pro Light" panose="020B0303030504020204" pitchFamily="34" charset="77"/>
                  </a:rPr>
                  <a:t>Accesibilidad</a:t>
                </a:r>
                <a:endParaRPr lang="en-US" sz="933" spc="-40" dirty="0">
                  <a:latin typeface="Soho Gothic Pro Light" panose="020B0303030504020204" pitchFamily="34" charset="77"/>
                </a:endParaRPr>
              </a:p>
            </p:txBody>
          </p:sp>
          <p:cxnSp>
            <p:nvCxnSpPr>
              <p:cNvPr id="27" name="Conector recto 26">
                <a:extLst>
                  <a:ext uri="{FF2B5EF4-FFF2-40B4-BE49-F238E27FC236}">
                    <a16:creationId xmlns:a16="http://schemas.microsoft.com/office/drawing/2014/main" id="{08698EDC-6985-5E4B-9FB4-8FB2A47F0862}"/>
                  </a:ext>
                </a:extLst>
              </p:cNvPr>
              <p:cNvCxnSpPr/>
              <p:nvPr/>
            </p:nvCxnSpPr>
            <p:spPr>
              <a:xfrm>
                <a:off x="5950969" y="2234918"/>
                <a:ext cx="22499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17D01496-0CD7-D746-B7B2-4E6CA98B1F61}"/>
                </a:ext>
              </a:extLst>
            </p:cNvPr>
            <p:cNvSpPr/>
            <p:nvPr/>
          </p:nvSpPr>
          <p:spPr>
            <a:xfrm>
              <a:off x="5288259" y="397960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/>
            </a:p>
          </p:txBody>
        </p:sp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A9C5C1CD-7C7F-3145-8FAE-59CAC75EC1CA}"/>
              </a:ext>
            </a:extLst>
          </p:cNvPr>
          <p:cNvGrpSpPr/>
          <p:nvPr/>
        </p:nvGrpSpPr>
        <p:grpSpPr>
          <a:xfrm>
            <a:off x="7746509" y="3316343"/>
            <a:ext cx="6410336" cy="2402397"/>
            <a:chOff x="6703441" y="3316343"/>
            <a:chExt cx="6410336" cy="2402397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E08E81F4-3EB0-5F4B-A7D4-923BD1927B70}"/>
                </a:ext>
              </a:extLst>
            </p:cNvPr>
            <p:cNvSpPr/>
            <p:nvPr/>
          </p:nvSpPr>
          <p:spPr>
            <a:xfrm>
              <a:off x="6744071" y="3867296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9847AA19-0EAE-9142-8147-EF07EBC7C5FA}"/>
                </a:ext>
              </a:extLst>
            </p:cNvPr>
            <p:cNvGrpSpPr/>
            <p:nvPr/>
          </p:nvGrpSpPr>
          <p:grpSpPr>
            <a:xfrm>
              <a:off x="6703441" y="3316343"/>
              <a:ext cx="6410336" cy="2402397"/>
              <a:chOff x="1700690" y="1463898"/>
              <a:chExt cx="4807752" cy="1801798"/>
            </a:xfrm>
          </p:grpSpPr>
          <p:sp>
            <p:nvSpPr>
              <p:cNvPr id="33" name="4 Rectángulo">
                <a:extLst>
                  <a:ext uri="{FF2B5EF4-FFF2-40B4-BE49-F238E27FC236}">
                    <a16:creationId xmlns:a16="http://schemas.microsoft.com/office/drawing/2014/main" id="{915EA1B5-8450-0D46-BF04-BFA7A0A4F9C4}"/>
                  </a:ext>
                </a:extLst>
              </p:cNvPr>
              <p:cNvSpPr/>
              <p:nvPr/>
            </p:nvSpPr>
            <p:spPr>
              <a:xfrm>
                <a:off x="1700690" y="2088451"/>
                <a:ext cx="2028695" cy="11772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JquBootstrap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Cordova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Jquery</a:t>
                </a:r>
                <a:r>
                  <a:rPr lang="es-ES" sz="1200" dirty="0">
                    <a:solidFill>
                      <a:schemeClr val="bg1"/>
                    </a:solidFill>
                  </a:rPr>
                  <a:t> Mobile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Hibrida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SPA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HTM5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Backbone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Responsive</a:t>
                </a:r>
                <a:endParaRPr lang="es-E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Título 3">
                <a:extLst>
                  <a:ext uri="{FF2B5EF4-FFF2-40B4-BE49-F238E27FC236}">
                    <a16:creationId xmlns:a16="http://schemas.microsoft.com/office/drawing/2014/main" id="{71913F59-8708-A54C-BA7D-5579895D990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56394" y="1463898"/>
                <a:ext cx="4752048" cy="241719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1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3" name="Grupo 52">
            <a:extLst>
              <a:ext uri="{FF2B5EF4-FFF2-40B4-BE49-F238E27FC236}">
                <a16:creationId xmlns:a16="http://schemas.microsoft.com/office/drawing/2014/main" id="{229E8BCF-7AD1-3A49-87CD-8ECDA4AD8C50}"/>
              </a:ext>
            </a:extLst>
          </p:cNvPr>
          <p:cNvGrpSpPr/>
          <p:nvPr/>
        </p:nvGrpSpPr>
        <p:grpSpPr>
          <a:xfrm>
            <a:off x="9859477" y="3322646"/>
            <a:ext cx="6446497" cy="2197473"/>
            <a:chOff x="9859477" y="3322646"/>
            <a:chExt cx="6446497" cy="2197473"/>
          </a:xfrm>
        </p:grpSpPr>
        <p:sp>
          <p:nvSpPr>
            <p:cNvPr id="44" name="Elipse 43">
              <a:extLst>
                <a:ext uri="{FF2B5EF4-FFF2-40B4-BE49-F238E27FC236}">
                  <a16:creationId xmlns:a16="http://schemas.microsoft.com/office/drawing/2014/main" id="{869BB38C-196E-CB48-B2C7-17E8BE08A92F}"/>
                </a:ext>
              </a:extLst>
            </p:cNvPr>
            <p:cNvSpPr/>
            <p:nvPr/>
          </p:nvSpPr>
          <p:spPr>
            <a:xfrm>
              <a:off x="10056440" y="3871021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3659FD41-6D4D-3E4D-9953-244678753A31}"/>
                </a:ext>
              </a:extLst>
            </p:cNvPr>
            <p:cNvGrpSpPr/>
            <p:nvPr/>
          </p:nvGrpSpPr>
          <p:grpSpPr>
            <a:xfrm>
              <a:off x="9859477" y="3322646"/>
              <a:ext cx="6446497" cy="2197473"/>
              <a:chOff x="5868144" y="1220334"/>
              <a:chExt cx="4834873" cy="1648105"/>
            </a:xfrm>
          </p:grpSpPr>
          <p:sp>
            <p:nvSpPr>
              <p:cNvPr id="39" name="Título 3">
                <a:extLst>
                  <a:ext uri="{FF2B5EF4-FFF2-40B4-BE49-F238E27FC236}">
                    <a16:creationId xmlns:a16="http://schemas.microsoft.com/office/drawing/2014/main" id="{AB61F8D3-4405-DC41-8D4E-77BCFC2D804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50969" y="1220334"/>
                <a:ext cx="4752048" cy="429170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algn="l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kern="1200">
                    <a:solidFill>
                      <a:schemeClr val="tx1"/>
                    </a:solidFill>
                    <a:latin typeface="Playfair Display" pitchFamily="2" charset="77"/>
                    <a:ea typeface="+mj-ea"/>
                    <a:cs typeface="+mj-cs"/>
                  </a:defRPr>
                </a:lvl1pPr>
              </a:lstStyle>
              <a:p>
                <a:r>
                  <a:rPr lang="es-ES" dirty="0">
                    <a:solidFill>
                      <a:schemeClr val="bg1"/>
                    </a:solidFill>
                  </a:rPr>
                  <a:t>2013</a:t>
                </a:r>
                <a:endParaRPr lang="es-ES" sz="21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0" name="4 Rectángulo">
                <a:extLst>
                  <a:ext uri="{FF2B5EF4-FFF2-40B4-BE49-F238E27FC236}">
                    <a16:creationId xmlns:a16="http://schemas.microsoft.com/office/drawing/2014/main" id="{B0EF3183-196E-7F41-9C9E-BCFE602533C7}"/>
                  </a:ext>
                </a:extLst>
              </p:cNvPr>
              <p:cNvSpPr/>
              <p:nvPr/>
            </p:nvSpPr>
            <p:spPr>
              <a:xfrm>
                <a:off x="5868144" y="1829693"/>
                <a:ext cx="2375286" cy="103874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Automatizadores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Webpack</a:t>
                </a:r>
                <a:r>
                  <a:rPr lang="es-ES" sz="1200" dirty="0">
                    <a:solidFill>
                      <a:schemeClr val="bg1"/>
                    </a:solidFill>
                  </a:rPr>
                  <a:t>,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grunt</a:t>
                </a:r>
                <a:r>
                  <a:rPr lang="es-ES" sz="1200" dirty="0">
                    <a:solidFill>
                      <a:schemeClr val="bg1"/>
                    </a:solidFill>
                  </a:rPr>
                  <a:t>, </a:t>
                </a:r>
                <a:r>
                  <a:rPr lang="es-ES" sz="1200" dirty="0" err="1">
                    <a:solidFill>
                      <a:schemeClr val="bg1"/>
                    </a:solidFill>
                  </a:rPr>
                  <a:t>gulp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Node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CSS3 Web 2.0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 err="1">
                    <a:solidFill>
                      <a:schemeClr val="bg1"/>
                    </a:solidFill>
                  </a:rPr>
                  <a:t>Sass</a:t>
                </a:r>
                <a:endParaRPr lang="es-ES" sz="1200" dirty="0">
                  <a:solidFill>
                    <a:schemeClr val="bg1"/>
                  </a:solidFill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s-ES" sz="1200" dirty="0">
                    <a:solidFill>
                      <a:schemeClr val="bg1"/>
                    </a:solidFill>
                  </a:rPr>
                  <a:t>Angular JS</a:t>
                </a:r>
              </a:p>
              <a:p>
                <a:endParaRPr lang="es-ES" sz="12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4" name="Título 3">
            <a:extLst>
              <a:ext uri="{FF2B5EF4-FFF2-40B4-BE49-F238E27FC236}">
                <a16:creationId xmlns:a16="http://schemas.microsoft.com/office/drawing/2014/main" id="{64769EF7-05DB-A145-9C53-364ABEC9D498}"/>
              </a:ext>
            </a:extLst>
          </p:cNvPr>
          <p:cNvSpPr txBox="1">
            <a:spLocks/>
          </p:cNvSpPr>
          <p:nvPr/>
        </p:nvSpPr>
        <p:spPr>
          <a:xfrm>
            <a:off x="6640718" y="2212158"/>
            <a:ext cx="6336064" cy="572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dirty="0">
                <a:solidFill>
                  <a:schemeClr val="bg1"/>
                </a:solidFill>
              </a:rPr>
              <a:t>2010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A29FE9D8-7D22-D14D-8030-C26C59842366}"/>
              </a:ext>
            </a:extLst>
          </p:cNvPr>
          <p:cNvCxnSpPr>
            <a:cxnSpLocks/>
            <a:endCxn id="42" idx="4"/>
          </p:cNvCxnSpPr>
          <p:nvPr/>
        </p:nvCxnSpPr>
        <p:spPr>
          <a:xfrm>
            <a:off x="7010597" y="2636912"/>
            <a:ext cx="0" cy="136815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Elipse 41">
            <a:extLst>
              <a:ext uri="{FF2B5EF4-FFF2-40B4-BE49-F238E27FC236}">
                <a16:creationId xmlns:a16="http://schemas.microsoft.com/office/drawing/2014/main" id="{A6A3C7AA-F355-2A4A-BB6A-ED5839EDA30C}"/>
              </a:ext>
            </a:extLst>
          </p:cNvPr>
          <p:cNvSpPr/>
          <p:nvPr/>
        </p:nvSpPr>
        <p:spPr>
          <a:xfrm>
            <a:off x="6932240" y="3848351"/>
            <a:ext cx="156713" cy="15671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46" name="Título 3">
            <a:extLst>
              <a:ext uri="{FF2B5EF4-FFF2-40B4-BE49-F238E27FC236}">
                <a16:creationId xmlns:a16="http://schemas.microsoft.com/office/drawing/2014/main" id="{18F43930-D39D-3644-898A-21587BFEC2DC}"/>
              </a:ext>
            </a:extLst>
          </p:cNvPr>
          <p:cNvSpPr txBox="1">
            <a:spLocks/>
          </p:cNvSpPr>
          <p:nvPr/>
        </p:nvSpPr>
        <p:spPr>
          <a:xfrm>
            <a:off x="484652" y="3076082"/>
            <a:ext cx="1106070" cy="5113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sz="3600" dirty="0"/>
              <a:t>2000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1018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7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7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97A5BB1-3ACE-934E-9E2D-50E4E129286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561" r="19759"/>
          <a:stretch/>
        </p:blipFill>
        <p:spPr>
          <a:xfrm>
            <a:off x="7480630" y="-723236"/>
            <a:ext cx="5404324" cy="4441544"/>
          </a:xfrm>
          <a:prstGeom prst="rect">
            <a:avLst/>
          </a:prstGeom>
        </p:spPr>
      </p:pic>
      <p:sp>
        <p:nvSpPr>
          <p:cNvPr id="38" name="Forma libre 37">
            <a:extLst>
              <a:ext uri="{FF2B5EF4-FFF2-40B4-BE49-F238E27FC236}">
                <a16:creationId xmlns:a16="http://schemas.microsoft.com/office/drawing/2014/main" id="{10575C80-D8CD-0F47-8B19-5107BD88C7AF}"/>
              </a:ext>
            </a:extLst>
          </p:cNvPr>
          <p:cNvSpPr/>
          <p:nvPr/>
        </p:nvSpPr>
        <p:spPr>
          <a:xfrm flipH="1">
            <a:off x="7470396" y="2348880"/>
            <a:ext cx="5175223" cy="3535916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069052" h="7483642">
                <a:moveTo>
                  <a:pt x="0" y="3176337"/>
                </a:moveTo>
                <a:lnTo>
                  <a:pt x="11069052" y="0"/>
                </a:lnTo>
                <a:lnTo>
                  <a:pt x="11069052" y="7483642"/>
                </a:lnTo>
                <a:lnTo>
                  <a:pt x="10804358" y="7483642"/>
                </a:lnTo>
                <a:lnTo>
                  <a:pt x="0" y="7483642"/>
                </a:lnTo>
                <a:lnTo>
                  <a:pt x="0" y="3176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60" name="Forma libre 59">
            <a:extLst>
              <a:ext uri="{FF2B5EF4-FFF2-40B4-BE49-F238E27FC236}">
                <a16:creationId xmlns:a16="http://schemas.microsoft.com/office/drawing/2014/main" id="{F533803E-DFDE-7A42-A3EA-A4B7496E8D37}"/>
              </a:ext>
            </a:extLst>
          </p:cNvPr>
          <p:cNvSpPr/>
          <p:nvPr/>
        </p:nvSpPr>
        <p:spPr>
          <a:xfrm flipH="1">
            <a:off x="-1392833" y="-675457"/>
            <a:ext cx="11080833" cy="7570863"/>
          </a:xfrm>
          <a:custGeom>
            <a:avLst/>
            <a:gdLst>
              <a:gd name="connsiteX0" fmla="*/ 0 w 11069052"/>
              <a:gd name="connsiteY0" fmla="*/ 3176337 h 7483642"/>
              <a:gd name="connsiteX1" fmla="*/ 11069052 w 11069052"/>
              <a:gd name="connsiteY1" fmla="*/ 0 h 7483642"/>
              <a:gd name="connsiteX2" fmla="*/ 11069052 w 11069052"/>
              <a:gd name="connsiteY2" fmla="*/ 7483642 h 7483642"/>
              <a:gd name="connsiteX3" fmla="*/ 10804358 w 11069052"/>
              <a:gd name="connsiteY3" fmla="*/ 7483642 h 7483642"/>
              <a:gd name="connsiteX4" fmla="*/ 0 w 11069052"/>
              <a:gd name="connsiteY4" fmla="*/ 7483642 h 7483642"/>
              <a:gd name="connsiteX5" fmla="*/ 0 w 11069052"/>
              <a:gd name="connsiteY5" fmla="*/ 3176337 h 748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069052" h="7483642">
                <a:moveTo>
                  <a:pt x="0" y="3176337"/>
                </a:moveTo>
                <a:lnTo>
                  <a:pt x="11069052" y="0"/>
                </a:lnTo>
                <a:lnTo>
                  <a:pt x="11069052" y="7483642"/>
                </a:lnTo>
                <a:lnTo>
                  <a:pt x="10804358" y="7483642"/>
                </a:lnTo>
                <a:lnTo>
                  <a:pt x="0" y="7483642"/>
                </a:lnTo>
                <a:lnTo>
                  <a:pt x="0" y="317633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0CA12346-5655-874F-A931-043D885E1975}"/>
              </a:ext>
            </a:extLst>
          </p:cNvPr>
          <p:cNvCxnSpPr>
            <a:cxnSpLocks/>
          </p:cNvCxnSpPr>
          <p:nvPr/>
        </p:nvCxnSpPr>
        <p:spPr>
          <a:xfrm>
            <a:off x="-649441" y="3992448"/>
            <a:ext cx="12239137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o 13">
            <a:extLst>
              <a:ext uri="{FF2B5EF4-FFF2-40B4-BE49-F238E27FC236}">
                <a16:creationId xmlns:a16="http://schemas.microsoft.com/office/drawing/2014/main" id="{D421A8E3-05A6-B14F-8855-79CFFC59E84F}"/>
              </a:ext>
            </a:extLst>
          </p:cNvPr>
          <p:cNvGrpSpPr/>
          <p:nvPr/>
        </p:nvGrpSpPr>
        <p:grpSpPr>
          <a:xfrm>
            <a:off x="1765419" y="3397050"/>
            <a:ext cx="2550517" cy="1505776"/>
            <a:chOff x="2893164" y="3924386"/>
            <a:chExt cx="2550517" cy="1505776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E08E81F4-3EB0-5F4B-A7D4-923BD1927B70}"/>
                </a:ext>
              </a:extLst>
            </p:cNvPr>
            <p:cNvSpPr/>
            <p:nvPr/>
          </p:nvSpPr>
          <p:spPr>
            <a:xfrm>
              <a:off x="2992215" y="4440838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tx1"/>
                </a:solidFill>
              </a:endParaRPr>
            </a:p>
          </p:txBody>
        </p:sp>
        <p:sp>
          <p:nvSpPr>
            <p:cNvPr id="41" name="Título 3">
              <a:extLst>
                <a:ext uri="{FF2B5EF4-FFF2-40B4-BE49-F238E27FC236}">
                  <a16:creationId xmlns:a16="http://schemas.microsoft.com/office/drawing/2014/main" id="{D5F2AFBF-0B03-914D-A283-C8018E0D2049}"/>
                </a:ext>
              </a:extLst>
            </p:cNvPr>
            <p:cNvSpPr txBox="1">
              <a:spLocks/>
            </p:cNvSpPr>
            <p:nvPr/>
          </p:nvSpPr>
          <p:spPr>
            <a:xfrm>
              <a:off x="2964048" y="3924386"/>
              <a:ext cx="1149432" cy="57222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Playfair Display" pitchFamily="2" charset="77"/>
                  <a:ea typeface="+mj-ea"/>
                  <a:cs typeface="+mj-cs"/>
                </a:defRPr>
              </a:lvl1pPr>
            </a:lstStyle>
            <a:p>
              <a:r>
                <a:rPr lang="es-ES" dirty="0"/>
                <a:t>2015</a:t>
              </a:r>
              <a:endParaRPr lang="es-ES" sz="2667" dirty="0"/>
            </a:p>
          </p:txBody>
        </p:sp>
        <p:sp>
          <p:nvSpPr>
            <p:cNvPr id="42" name="4 Rectángulo">
              <a:extLst>
                <a:ext uri="{FF2B5EF4-FFF2-40B4-BE49-F238E27FC236}">
                  <a16:creationId xmlns:a16="http://schemas.microsoft.com/office/drawing/2014/main" id="{2929872F-9987-1E45-98CE-DDB6F88B8176}"/>
                </a:ext>
              </a:extLst>
            </p:cNvPr>
            <p:cNvSpPr/>
            <p:nvPr/>
          </p:nvSpPr>
          <p:spPr>
            <a:xfrm>
              <a:off x="2893164" y="4783831"/>
              <a:ext cx="255051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 err="1"/>
                <a:t>Frameworks</a:t>
              </a:r>
              <a:r>
                <a:rPr lang="es-ES" sz="1200" dirty="0"/>
                <a:t> Angular </a:t>
              </a:r>
              <a:r>
                <a:rPr lang="es-ES" sz="1200" dirty="0" err="1"/>
                <a:t>React</a:t>
              </a:r>
              <a:endParaRPr lang="es-ES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 err="1"/>
                <a:t>Vue</a:t>
              </a:r>
              <a:endParaRPr lang="es-ES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/>
                <a:t>ES6</a:t>
              </a: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139AB3CE-9E8C-8349-81B4-333DAD0F6F7C}"/>
              </a:ext>
            </a:extLst>
          </p:cNvPr>
          <p:cNvGrpSpPr/>
          <p:nvPr/>
        </p:nvGrpSpPr>
        <p:grpSpPr>
          <a:xfrm>
            <a:off x="5400303" y="3402102"/>
            <a:ext cx="1440159" cy="1673994"/>
            <a:chOff x="8184232" y="3929438"/>
            <a:chExt cx="1440159" cy="1673994"/>
          </a:xfrm>
        </p:grpSpPr>
        <p:sp>
          <p:nvSpPr>
            <p:cNvPr id="59" name="Elipse 58">
              <a:extLst>
                <a:ext uri="{FF2B5EF4-FFF2-40B4-BE49-F238E27FC236}">
                  <a16:creationId xmlns:a16="http://schemas.microsoft.com/office/drawing/2014/main" id="{8D5E22BF-20ED-7F4D-B550-155CEE8C7982}"/>
                </a:ext>
              </a:extLst>
            </p:cNvPr>
            <p:cNvSpPr/>
            <p:nvPr/>
          </p:nvSpPr>
          <p:spPr>
            <a:xfrm>
              <a:off x="8301193" y="4440838"/>
              <a:ext cx="156713" cy="15671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tx1"/>
                </a:solidFill>
              </a:endParaRPr>
            </a:p>
          </p:txBody>
        </p:sp>
        <p:sp>
          <p:nvSpPr>
            <p:cNvPr id="46" name="Título 3">
              <a:extLst>
                <a:ext uri="{FF2B5EF4-FFF2-40B4-BE49-F238E27FC236}">
                  <a16:creationId xmlns:a16="http://schemas.microsoft.com/office/drawing/2014/main" id="{F890B9D8-3BA9-C349-A676-0FF93ADA70E2}"/>
                </a:ext>
              </a:extLst>
            </p:cNvPr>
            <p:cNvSpPr txBox="1">
              <a:spLocks/>
            </p:cNvSpPr>
            <p:nvPr/>
          </p:nvSpPr>
          <p:spPr>
            <a:xfrm>
              <a:off x="8311053" y="3929438"/>
              <a:ext cx="954692" cy="57222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Playfair Display" pitchFamily="2" charset="77"/>
                  <a:ea typeface="+mj-ea"/>
                  <a:cs typeface="+mj-cs"/>
                </a:defRPr>
              </a:lvl1pPr>
            </a:lstStyle>
            <a:p>
              <a:r>
                <a:rPr lang="es-ES" dirty="0"/>
                <a:t>2019</a:t>
              </a:r>
            </a:p>
          </p:txBody>
        </p:sp>
        <p:sp>
          <p:nvSpPr>
            <p:cNvPr id="47" name="4 Rectángulo">
              <a:extLst>
                <a:ext uri="{FF2B5EF4-FFF2-40B4-BE49-F238E27FC236}">
                  <a16:creationId xmlns:a16="http://schemas.microsoft.com/office/drawing/2014/main" id="{1190735B-EE71-A148-9CB2-9CCF7566033D}"/>
                </a:ext>
              </a:extLst>
            </p:cNvPr>
            <p:cNvSpPr/>
            <p:nvPr/>
          </p:nvSpPr>
          <p:spPr>
            <a:xfrm>
              <a:off x="8184232" y="4772435"/>
              <a:ext cx="144015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/>
                <a:t>PW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 err="1"/>
                <a:t>GraphQL</a:t>
              </a:r>
              <a:endParaRPr lang="es-ES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 err="1"/>
                <a:t>JAMStack</a:t>
              </a:r>
              <a:endParaRPr lang="es-ES" sz="12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ES" sz="1200" dirty="0" err="1"/>
                <a:t>Webassembly</a:t>
              </a:r>
              <a:r>
                <a:rPr lang="es-ES" sz="1200" dirty="0"/>
                <a:t>     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B59F2979-6691-B541-B8D4-2E4A10FD0B09}"/>
              </a:ext>
            </a:extLst>
          </p:cNvPr>
          <p:cNvGrpSpPr/>
          <p:nvPr/>
        </p:nvGrpSpPr>
        <p:grpSpPr>
          <a:xfrm>
            <a:off x="7824192" y="3127400"/>
            <a:ext cx="1106070" cy="1078639"/>
            <a:chOff x="8437060" y="3098017"/>
            <a:chExt cx="1106070" cy="1078639"/>
          </a:xfrm>
        </p:grpSpPr>
        <p:sp>
          <p:nvSpPr>
            <p:cNvPr id="20" name="Título 3">
              <a:extLst>
                <a:ext uri="{FF2B5EF4-FFF2-40B4-BE49-F238E27FC236}">
                  <a16:creationId xmlns:a16="http://schemas.microsoft.com/office/drawing/2014/main" id="{D828EE33-E58F-2B47-AA1D-FA215E67A74C}"/>
                </a:ext>
              </a:extLst>
            </p:cNvPr>
            <p:cNvSpPr txBox="1">
              <a:spLocks/>
            </p:cNvSpPr>
            <p:nvPr/>
          </p:nvSpPr>
          <p:spPr>
            <a:xfrm>
              <a:off x="8437060" y="3098017"/>
              <a:ext cx="1106070" cy="511392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Playfair Display" pitchFamily="2" charset="77"/>
                  <a:ea typeface="+mj-ea"/>
                  <a:cs typeface="+mj-cs"/>
                </a:defRPr>
              </a:lvl1pPr>
            </a:lstStyle>
            <a:p>
              <a:r>
                <a:rPr lang="es-ES" sz="3600" dirty="0"/>
                <a:t>2020</a:t>
              </a:r>
              <a:endParaRPr lang="es-ES" dirty="0"/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DEB95CFC-1E6A-A847-AC24-812B93B9D60F}"/>
                </a:ext>
              </a:extLst>
            </p:cNvPr>
            <p:cNvSpPr/>
            <p:nvPr/>
          </p:nvSpPr>
          <p:spPr>
            <a:xfrm>
              <a:off x="8674842" y="3727294"/>
              <a:ext cx="449362" cy="44936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087951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3102018" id="{5C41357B-7313-429A-8D70-51EB5220553A}" vid="{D77268EC-2466-4A95-A82B-DEA9D01E7CF1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4561</TotalTime>
  <Words>139</Words>
  <Application>Microsoft Macintosh PowerPoint</Application>
  <PresentationFormat>Panorámica</PresentationFormat>
  <Paragraphs>84</Paragraphs>
  <Slides>4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0" baseType="lpstr">
      <vt:lpstr>Arial</vt:lpstr>
      <vt:lpstr>Playfair Display</vt:lpstr>
      <vt:lpstr>Soho Gothic Pro</vt:lpstr>
      <vt:lpstr>Soho Gothic Pro Light</vt:lpstr>
      <vt:lpstr>Portadas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Microsoft Office User</dc:creator>
  <cp:lastModifiedBy>Fernández Paniagua, Lucía</cp:lastModifiedBy>
  <cp:revision>146</cp:revision>
  <cp:lastPrinted>2019-11-12T09:49:57Z</cp:lastPrinted>
  <dcterms:created xsi:type="dcterms:W3CDTF">2019-10-09T07:16:27Z</dcterms:created>
  <dcterms:modified xsi:type="dcterms:W3CDTF">2020-01-29T11:48:34Z</dcterms:modified>
</cp:coreProperties>
</file>